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9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12" r:id="rId5"/>
    <p:sldMasterId id="2147483896" r:id="rId6"/>
    <p:sldMasterId id="2147483927" r:id="rId7"/>
    <p:sldMasterId id="2147483948" r:id="rId8"/>
    <p:sldMasterId id="2147483965" r:id="rId9"/>
    <p:sldMasterId id="2147483971" r:id="rId10"/>
    <p:sldMasterId id="2147483977" r:id="rId11"/>
    <p:sldMasterId id="2147483992" r:id="rId12"/>
  </p:sldMasterIdLst>
  <p:notesMasterIdLst>
    <p:notesMasterId r:id="rId27"/>
  </p:notesMasterIdLst>
  <p:handoutMasterIdLst>
    <p:handoutMasterId r:id="rId28"/>
  </p:handoutMasterIdLst>
  <p:sldIdLst>
    <p:sldId id="1023" r:id="rId13"/>
    <p:sldId id="1080" r:id="rId14"/>
    <p:sldId id="1081" r:id="rId15"/>
    <p:sldId id="554" r:id="rId16"/>
    <p:sldId id="982" r:id="rId17"/>
    <p:sldId id="1010" r:id="rId18"/>
    <p:sldId id="1032" r:id="rId19"/>
    <p:sldId id="1009" r:id="rId20"/>
    <p:sldId id="1037" r:id="rId21"/>
    <p:sldId id="1040" r:id="rId22"/>
    <p:sldId id="811" r:id="rId23"/>
    <p:sldId id="1039" r:id="rId24"/>
    <p:sldId id="1082" r:id="rId25"/>
    <p:sldId id="1041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bias Fichter" initials="TF" lastIdx="3" clrIdx="0">
    <p:extLst>
      <p:ext uri="{19B8F6BF-5375-455C-9EA6-DF929625EA0E}">
        <p15:presenceInfo xmlns:p15="http://schemas.microsoft.com/office/powerpoint/2012/main" userId="Tobias Fichter" providerId="None"/>
      </p:ext>
    </p:extLst>
  </p:cmAuthor>
  <p:cmAuthor id="2" name="Ana Lucia Amazo Blanco" initials="ALAB" lastIdx="1" clrIdx="1">
    <p:extLst>
      <p:ext uri="{19B8F6BF-5375-455C-9EA6-DF929625EA0E}">
        <p15:presenceInfo xmlns:p15="http://schemas.microsoft.com/office/powerpoint/2012/main" userId="Ana Lucia Amazo Blan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0C2F"/>
    <a:srgbClr val="635C5B"/>
    <a:srgbClr val="FF9900"/>
    <a:srgbClr val="FFFFFF"/>
    <a:srgbClr val="651D32"/>
    <a:srgbClr val="E7E7E5"/>
    <a:srgbClr val="002F6C"/>
    <a:srgbClr val="D9D7D3"/>
    <a:srgbClr val="CFCDC9"/>
    <a:srgbClr val="6C64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85029" autoAdjust="0"/>
  </p:normalViewPr>
  <p:slideViewPr>
    <p:cSldViewPr snapToObjects="1">
      <p:cViewPr varScale="1">
        <p:scale>
          <a:sx n="57" d="100"/>
          <a:sy n="57" d="100"/>
        </p:scale>
        <p:origin x="964" y="36"/>
      </p:cViewPr>
      <p:guideLst>
        <p:guide orient="horz" pos="2160"/>
        <p:guide pos="3776"/>
      </p:guideLst>
    </p:cSldViewPr>
  </p:slideViewPr>
  <p:outlineViewPr>
    <p:cViewPr>
      <p:scale>
        <a:sx n="33" d="100"/>
        <a:sy n="33" d="100"/>
      </p:scale>
      <p:origin x="0" y="-60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0332"/>
    </p:cViewPr>
  </p:sorterViewPr>
  <p:notesViewPr>
    <p:cSldViewPr snapToObjects="1" showGuides="1">
      <p:cViewPr varScale="1">
        <p:scale>
          <a:sx n="87" d="100"/>
          <a:sy n="87" d="100"/>
        </p:scale>
        <p:origin x="384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A558B-E4E9-A94A-B9C1-029E46A76A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3964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DA2BB-58C2-457F-BACB-F98406C378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8293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DA2BB-58C2-457F-BACB-F98406C378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620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DA2BB-58C2-457F-BACB-F98406C378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098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DA2BB-58C2-457F-BACB-F98406C378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349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DA2BB-58C2-457F-BACB-F98406C378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399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DA2BB-58C2-457F-BACB-F98406C378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297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5.pn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7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7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692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4932279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0147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9801751"/>
      </p:ext>
    </p:extLst>
  </p:cSld>
  <p:clrMapOvr>
    <a:masterClrMapping/>
  </p:clrMapOvr>
  <p:hf sldNum="0"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53369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7966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1377561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0805938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3263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759471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392641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413962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8183931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245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9989122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0398927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4022804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2879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7001773"/>
      </p:ext>
    </p:extLst>
  </p:cSld>
  <p:clrMapOvr>
    <a:masterClrMapping/>
  </p:clrMapOvr>
  <p:hf sldNum="0"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72021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Blatt_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9" b="1042"/>
          <a:stretch/>
        </p:blipFill>
        <p:spPr bwMode="auto">
          <a:xfrm>
            <a:off x="-10584" y="1011421"/>
            <a:ext cx="12202584" cy="5354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4823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14534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292624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11623035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3365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286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6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7504355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reeform 5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472379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287454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6282333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5902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 sz="22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5937184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idx="11"/>
          </p:nvPr>
        </p:nvSpPr>
        <p:spPr bwMode="auto">
          <a:xfrm>
            <a:off x="9101621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reeform 7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97553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4271857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8256261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7084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4"/>
          <p:cNvSpPr>
            <a:spLocks noGrp="1" noChangeArrowheads="1"/>
          </p:cNvSpPr>
          <p:nvPr>
            <p:ph idx="12"/>
          </p:nvPr>
        </p:nvSpPr>
        <p:spPr bwMode="auto">
          <a:xfrm>
            <a:off x="4271857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 noChangeArrowheads="1"/>
          </p:cNvSpPr>
          <p:nvPr>
            <p:ph idx="13"/>
          </p:nvPr>
        </p:nvSpPr>
        <p:spPr bwMode="auto">
          <a:xfrm>
            <a:off x="8256261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72341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gline_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453" y="1323975"/>
            <a:ext cx="11610331" cy="577850"/>
          </a:xfrm>
        </p:spPr>
        <p:txBody>
          <a:bodyPr/>
          <a:lstStyle>
            <a:lvl1pPr marL="0" indent="0">
              <a:buNone/>
              <a:defRPr b="1" baseline="0"/>
            </a:lvl1pPr>
            <a:lvl2pPr marL="236537" indent="0">
              <a:buNone/>
              <a:defRPr/>
            </a:lvl2pPr>
            <a:lvl3pPr marL="682625" indent="0">
              <a:buNone/>
              <a:defRPr/>
            </a:lvl3pPr>
            <a:lvl4pPr marL="1028700" indent="0">
              <a:buNone/>
              <a:defRPr/>
            </a:lvl4pPr>
            <a:lvl5pPr marL="1374775" indent="0">
              <a:buNone/>
              <a:defRPr/>
            </a:lvl5pPr>
          </a:lstStyle>
          <a:p>
            <a:pPr lvl="0"/>
            <a:r>
              <a:rPr lang="en-US" dirty="0"/>
              <a:t>Click to enter tagline text.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45839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22301" y="0"/>
            <a:ext cx="10941049" cy="84613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"/>
          </p:nvPr>
        </p:nvSpPr>
        <p:spPr>
          <a:xfrm>
            <a:off x="622301" y="1192213"/>
            <a:ext cx="5367867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6193367" y="1192213"/>
            <a:ext cx="5369984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>
          <a:xfrm>
            <a:off x="2253052" y="6578600"/>
            <a:ext cx="869949" cy="133350"/>
          </a:xfrm>
        </p:spPr>
        <p:txBody>
          <a:bodyPr/>
          <a:lstStyle>
            <a:lvl1pPr>
              <a:defRPr/>
            </a:lvl1pPr>
          </a:lstStyle>
          <a:p>
            <a:fld id="{C9BD4F23-E76B-44C4-B99C-C259D939991E}" type="datetime1">
              <a:rPr lang="en-GB"/>
              <a:pPr/>
              <a:t>03/07/2020</a:t>
            </a:fld>
            <a:endParaRPr lang="en-GB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230034" y="6578600"/>
            <a:ext cx="4792133" cy="17303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11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" y="6578600"/>
            <a:ext cx="1369484" cy="147638"/>
          </a:xfrm>
        </p:spPr>
        <p:txBody>
          <a:bodyPr/>
          <a:lstStyle>
            <a:lvl1pPr>
              <a:defRPr/>
            </a:lvl1pPr>
          </a:lstStyle>
          <a:p>
            <a:fld id="{F8C92D98-CF1D-41BE-ACCF-242B5082D7FB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03261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F8542F-706B-41EC-BB29-F4735E768B13}" type="datetime1">
              <a:rPr lang="en-US" smtClean="0">
                <a:solidFill>
                  <a:srgbClr val="000000"/>
                </a:solidFill>
              </a:rPr>
              <a:pPr/>
              <a:t>7/3/202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rinna Klessmann and Fabian Wigan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51296D-C1C0-46AC-980A-14DBEA0E3F2D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2902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95514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75416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697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68359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1264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53155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2449818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8943828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52850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11336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1958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7543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223815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77643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061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1" y="139700"/>
            <a:ext cx="11785599" cy="6553199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547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5163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532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11770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01281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71802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43513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682713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80159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514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11623035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35BA4CB-678D-439D-BD2B-2A0D687976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9009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0956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146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66780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1514776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Title + 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13845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434859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425359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588159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224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92878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7CC1E-9E87-4590-9E63-5AD3EB8E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1F1EFB-12C2-4D83-8950-8E5991EA7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2C7F57-1ED7-4099-9108-D42823301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4DD1F4-631A-41BC-BFC6-406640495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823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29040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834432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8262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63565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8095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2775151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6363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4088562"/>
      </p:ext>
    </p:extLst>
  </p:cSld>
  <p:clrMapOvr>
    <a:masterClrMapping/>
  </p:clrMapOvr>
  <p:hf sldNum="0"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87795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0105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accent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4410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2014276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066473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132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539686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22982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77953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929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677205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525104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4392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705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438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5088117"/>
      </p:ext>
    </p:extLst>
  </p:cSld>
  <p:clrMapOvr>
    <a:masterClrMapping/>
  </p:clrMapOvr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56464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586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6396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5186388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166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4987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39004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2055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60" y="-3148"/>
            <a:ext cx="2815677" cy="51244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023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0270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2980548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4151333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7865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249457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899785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6030217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430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634896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215992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6.jpe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tags" Target="../tags/tag9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tags" Target="../tags/tag8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vmlDrawing" Target="../drawings/vmlDrawing6.v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57.xml"/><Relationship Id="rId21" Type="http://schemas.openxmlformats.org/officeDocument/2006/relationships/oleObject" Target="../embeddings/oleObject7.bin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ags" Target="../tags/tag10.xml"/><Relationship Id="rId2" Type="http://schemas.openxmlformats.org/officeDocument/2006/relationships/slideLayout" Target="../slideLayouts/slideLayout56.xml"/><Relationship Id="rId16" Type="http://schemas.openxmlformats.org/officeDocument/2006/relationships/vmlDrawing" Target="../drawings/vmlDrawing7.v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heme" Target="../theme/theme4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tags" Target="../tags/tag27.xml"/><Relationship Id="rId3" Type="http://schemas.openxmlformats.org/officeDocument/2006/relationships/slideLayout" Target="../slideLayouts/slideLayout71.xml"/><Relationship Id="rId21" Type="http://schemas.openxmlformats.org/officeDocument/2006/relationships/oleObject" Target="../embeddings/oleObject11.bin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tags" Target="../tags/tag26.xml"/><Relationship Id="rId2" Type="http://schemas.openxmlformats.org/officeDocument/2006/relationships/slideLayout" Target="../slideLayouts/slideLayout70.xml"/><Relationship Id="rId16" Type="http://schemas.openxmlformats.org/officeDocument/2006/relationships/vmlDrawing" Target="../drawings/vmlDrawing11.vml"/><Relationship Id="rId20" Type="http://schemas.openxmlformats.org/officeDocument/2006/relationships/tags" Target="../tags/tag29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theme" Target="../theme/theme5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78.xml"/><Relationship Id="rId19" Type="http://schemas.openxmlformats.org/officeDocument/2006/relationships/tags" Target="../tags/tag2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image" Target="../media/image10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85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ags" Target="../tags/tag42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6.xml"/><Relationship Id="rId9" Type="http://schemas.openxmlformats.org/officeDocument/2006/relationships/image" Target="../media/image1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4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16.vml"/><Relationship Id="rId5" Type="http://schemas.openxmlformats.org/officeDocument/2006/relationships/theme" Target="../theme/theme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6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tags" Target="../tags/tag46.xml"/><Relationship Id="rId3" Type="http://schemas.openxmlformats.org/officeDocument/2006/relationships/slideLayout" Target="../slideLayouts/slideLayout92.xml"/><Relationship Id="rId21" Type="http://schemas.openxmlformats.org/officeDocument/2006/relationships/oleObject" Target="../embeddings/oleObject18.bin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tags" Target="../tags/tag45.xml"/><Relationship Id="rId2" Type="http://schemas.openxmlformats.org/officeDocument/2006/relationships/slideLayout" Target="../slideLayouts/slideLayout91.xml"/><Relationship Id="rId16" Type="http://schemas.openxmlformats.org/officeDocument/2006/relationships/vmlDrawing" Target="../drawings/vmlDrawing18.vml"/><Relationship Id="rId20" Type="http://schemas.openxmlformats.org/officeDocument/2006/relationships/tags" Target="../tags/tag48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heme" Target="../theme/theme8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99.xml"/><Relationship Id="rId19" Type="http://schemas.openxmlformats.org/officeDocument/2006/relationships/tags" Target="../tags/tag47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image" Target="../media/image10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tags" Target="../tags/tag62.xml"/><Relationship Id="rId3" Type="http://schemas.openxmlformats.org/officeDocument/2006/relationships/slideLayout" Target="../slideLayouts/slideLayout106.xml"/><Relationship Id="rId21" Type="http://schemas.openxmlformats.org/officeDocument/2006/relationships/oleObject" Target="../embeddings/oleObject22.bin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tags" Target="../tags/tag61.xml"/><Relationship Id="rId2" Type="http://schemas.openxmlformats.org/officeDocument/2006/relationships/slideLayout" Target="../slideLayouts/slideLayout105.xml"/><Relationship Id="rId16" Type="http://schemas.openxmlformats.org/officeDocument/2006/relationships/vmlDrawing" Target="../drawings/vmlDrawing22.vml"/><Relationship Id="rId20" Type="http://schemas.openxmlformats.org/officeDocument/2006/relationships/tags" Target="../tags/tag64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heme" Target="../theme/theme9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113.xml"/><Relationship Id="rId19" Type="http://schemas.openxmlformats.org/officeDocument/2006/relationships/tags" Target="../tags/tag6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1C5F2C2-F2DD-4856-83A9-78057D986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1926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4F737A3-DA73-4B78-996B-F97AB828B87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809" r:id="rId5"/>
    <p:sldLayoutId id="2147483811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6473816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13" descr="Mission_Statement_RGB"/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25ADF84-E851-46A2-B45F-8A710BEFF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09022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B3DFE36-A338-408C-B63B-24FC2528CA56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r>
              <a:rPr lang="en-US" dirty="0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411407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81657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617A958-10F6-4967-A49D-9E1D46E36D8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77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483560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C752D4-6928-4264-8707-7B031EF3B93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75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560786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9392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70" r:id="rId3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90976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1193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7408906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D758B8B-7F06-4A02-A887-E5707E2ED822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7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550270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9B587A1-95C3-487F-8026-A34DE6F1A1BD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9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5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705CF1-07A1-4B77-97FA-FB9DDB71D6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606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31054E-12E1-4F0E-955B-5C30830DF0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A0246DF-CCA5-4A42-B823-FC95918B30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 err="1">
                <a:solidFill>
                  <a:schemeClr val="bg2"/>
                </a:solidFill>
              </a:rPr>
              <a:t>July</a:t>
            </a:r>
            <a:r>
              <a:rPr lang="es-CO" dirty="0">
                <a:solidFill>
                  <a:schemeClr val="bg2"/>
                </a:solidFill>
              </a:rPr>
              <a:t> 17, 2019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034444-9D7D-41D6-A891-3A8F8DA800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Design elements and country experiences II: ceiling prices, financial guarantees, and penalties</a:t>
            </a:r>
          </a:p>
        </p:txBody>
      </p:sp>
    </p:spTree>
    <p:extLst>
      <p:ext uri="{BB962C8B-B14F-4D97-AF65-F5344CB8AC3E}">
        <p14:creationId xmlns:p14="http://schemas.microsoft.com/office/powerpoint/2010/main" val="16747109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A7A0D8B-F936-421B-9439-5512A4705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358255"/>
              </p:ext>
            </p:extLst>
          </p:nvPr>
        </p:nvGraphicFramePr>
        <p:xfrm>
          <a:off x="1981201" y="1447800"/>
          <a:ext cx="8381999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5047">
                  <a:extLst>
                    <a:ext uri="{9D8B030D-6E8A-4147-A177-3AD203B41FA5}">
                      <a16:colId xmlns:a16="http://schemas.microsoft.com/office/drawing/2014/main" val="918217510"/>
                    </a:ext>
                  </a:extLst>
                </a:gridCol>
                <a:gridCol w="7206952">
                  <a:extLst>
                    <a:ext uri="{9D8B030D-6E8A-4147-A177-3AD203B41FA5}">
                      <a16:colId xmlns:a16="http://schemas.microsoft.com/office/drawing/2014/main" val="381678097"/>
                    </a:ext>
                  </a:extLst>
                </a:gridCol>
              </a:tblGrid>
              <a:tr h="345572">
                <a:tc>
                  <a:txBody>
                    <a:bodyPr/>
                    <a:lstStyle/>
                    <a:p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6586881"/>
                  </a:ext>
                </a:extLst>
              </a:tr>
              <a:tr h="2159827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When to apply them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Bid bon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Submitted with the bid, returned after the Power-Purchase-Agreement (PPA) is sign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For non-awarded projects the bid bond should be returned directly after the auctio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  <a:p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Completion guarantee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Submitted with the signature of the PP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Returned once the project is commissione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151795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Example: setting financial guarantees (1I/II)</a:t>
            </a:r>
          </a:p>
        </p:txBody>
      </p:sp>
    </p:spTree>
    <p:extLst>
      <p:ext uri="{BB962C8B-B14F-4D97-AF65-F5344CB8AC3E}">
        <p14:creationId xmlns:p14="http://schemas.microsoft.com/office/powerpoint/2010/main" val="19108548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68FA7F74-7390-4E7E-B971-A1B543C489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47" name="Picture 46" descr="a flow chart showing all pitfalls in the journey from paying the bid bond to partial return completion guarantee">
            <a:extLst>
              <a:ext uri="{FF2B5EF4-FFF2-40B4-BE49-F238E27FC236}">
                <a16:creationId xmlns:a16="http://schemas.microsoft.com/office/drawing/2014/main" id="{084F062A-C3DC-4740-869D-18BF9322D6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9590" y="1536462"/>
            <a:ext cx="8833730" cy="42176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6F59D4-955B-44CA-9338-743876A32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onditions for participation: financial guarantees</a:t>
            </a:r>
          </a:p>
        </p:txBody>
      </p:sp>
    </p:spTree>
    <p:extLst>
      <p:ext uri="{BB962C8B-B14F-4D97-AF65-F5344CB8AC3E}">
        <p14:creationId xmlns:p14="http://schemas.microsoft.com/office/powerpoint/2010/main" val="35984628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2B3CE3D-B967-4D3B-850A-CFECC067B4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525544"/>
              </p:ext>
            </p:extLst>
          </p:nvPr>
        </p:nvGraphicFramePr>
        <p:xfrm>
          <a:off x="893928" y="1445680"/>
          <a:ext cx="10231272" cy="4866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8549">
                  <a:extLst>
                    <a:ext uri="{9D8B030D-6E8A-4147-A177-3AD203B41FA5}">
                      <a16:colId xmlns:a16="http://schemas.microsoft.com/office/drawing/2014/main" val="918217510"/>
                    </a:ext>
                  </a:extLst>
                </a:gridCol>
                <a:gridCol w="8702723">
                  <a:extLst>
                    <a:ext uri="{9D8B030D-6E8A-4147-A177-3AD203B41FA5}">
                      <a16:colId xmlns:a16="http://schemas.microsoft.com/office/drawing/2014/main" val="381678097"/>
                    </a:ext>
                  </a:extLst>
                </a:gridCol>
              </a:tblGrid>
              <a:tr h="389280">
                <a:tc>
                  <a:txBody>
                    <a:bodyPr/>
                    <a:lstStyle/>
                    <a:p>
                      <a:endParaRPr lang="en-US" sz="1900" noProof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 noProof="0" dirty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6586881"/>
                  </a:ext>
                </a:extLst>
              </a:tr>
              <a:tr h="4476722">
                <a:tc>
                  <a:txBody>
                    <a:bodyPr/>
                    <a:lstStyle/>
                    <a:p>
                      <a:r>
                        <a:rPr lang="en-US" sz="1900" b="1" noProof="0" dirty="0">
                          <a:solidFill>
                            <a:srgbClr val="635C5B"/>
                          </a:solidFill>
                        </a:rPr>
                        <a:t>How to calculate them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1.   Calibrate your penalty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Assume installation costs of $1671/kW for utility scale solar PV, and completion bond of 5-7%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Assume penalty is applied during year 1 after realization deadline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What is the penalty at 5%? 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$83.55/kW  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What is the penalty at 7%? 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$116.97/kW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endParaRPr lang="en-US" sz="1900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2.   Consider:</a:t>
                      </a: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Incentive to pay the penalty given yearly module price reduction</a:t>
                      </a: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Savings = $1671/kW </a:t>
                      </a:r>
                      <a:r>
                        <a:rPr lang="en-US" sz="1900" b="1" noProof="0" dirty="0">
                          <a:solidFill>
                            <a:schemeClr val="accent6"/>
                          </a:solidFill>
                        </a:rPr>
                        <a:t>x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 % share module costs on total project costs </a:t>
                      </a:r>
                      <a:r>
                        <a:rPr lang="en-US" sz="1900" b="1" noProof="0" dirty="0">
                          <a:solidFill>
                            <a:schemeClr val="accent6"/>
                          </a:solidFill>
                        </a:rPr>
                        <a:t>x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 (1 – % module price reduction after 1 year)</a:t>
                      </a: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</a:pPr>
                      <a:r>
                        <a:rPr lang="en-US" sz="1900" b="1" noProof="0" dirty="0">
                          <a:solidFill>
                            <a:srgbClr val="635C5B"/>
                          </a:solidFill>
                        </a:rPr>
                        <a:t>Careful: Calculation is a simplification!</a:t>
                      </a: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</a:pP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Savings = $1671/kW </a:t>
                      </a:r>
                      <a:r>
                        <a:rPr lang="en-US" sz="1900" b="1" noProof="0" dirty="0">
                          <a:solidFill>
                            <a:schemeClr val="accent6"/>
                          </a:solidFill>
                        </a:rPr>
                        <a:t>x </a:t>
                      </a:r>
                      <a:r>
                        <a:rPr lang="en-US" sz="1900" b="0" noProof="0" dirty="0">
                          <a:solidFill>
                            <a:schemeClr val="accent3"/>
                          </a:solidFill>
                        </a:rPr>
                        <a:t>0.385 ($644.5/$1671) </a:t>
                      </a:r>
                      <a:r>
                        <a:rPr lang="en-US" sz="1900" b="1" noProof="0" dirty="0">
                          <a:solidFill>
                            <a:schemeClr val="accent6"/>
                          </a:solidFill>
                        </a:rPr>
                        <a:t>x </a:t>
                      </a:r>
                      <a:r>
                        <a:rPr lang="en-US" sz="1900" b="0" noProof="0" dirty="0">
                          <a:solidFill>
                            <a:schemeClr val="accent3"/>
                          </a:solidFill>
                        </a:rPr>
                        <a:t>0.74 (1- 0.26)</a:t>
                      </a:r>
                    </a:p>
                    <a:p>
                      <a:pPr marL="457200" lvl="1" indent="0">
                        <a:buFont typeface="Arial" panose="020B0604020202020204" pitchFamily="34" charset="0"/>
                        <a:buNone/>
                      </a:pPr>
                      <a:r>
                        <a:rPr lang="en-US" sz="1900" b="0" noProof="0" dirty="0">
                          <a:solidFill>
                            <a:schemeClr val="accent3"/>
                          </a:solidFill>
                        </a:rPr>
                        <a:t>Savings = $476.1 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= higher than penalty 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 In theory, incentive to delay by 1 year</a:t>
                      </a:r>
                      <a:r>
                        <a:rPr lang="en-US" sz="1900" noProof="0" dirty="0">
                          <a:solidFill>
                            <a:srgbClr val="635C5B"/>
                          </a:solidFill>
                        </a:rPr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598985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86770"/>
            <a:ext cx="10363200" cy="523220"/>
          </a:xfrm>
        </p:spPr>
        <p:txBody>
          <a:bodyPr/>
          <a:lstStyle/>
          <a:p>
            <a:r>
              <a:rPr lang="en-US" noProof="0" dirty="0"/>
              <a:t>Example: setting penalties (1/III)</a:t>
            </a:r>
          </a:p>
        </p:txBody>
      </p:sp>
    </p:spTree>
    <p:extLst>
      <p:ext uri="{BB962C8B-B14F-4D97-AF65-F5344CB8AC3E}">
        <p14:creationId xmlns:p14="http://schemas.microsoft.com/office/powerpoint/2010/main" val="6637919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Example: setting penalties (1I/III)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2B3CE3D-B967-4D3B-850A-CFECC067B4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201489"/>
              </p:ext>
            </p:extLst>
          </p:nvPr>
        </p:nvGraphicFramePr>
        <p:xfrm>
          <a:off x="990600" y="2057400"/>
          <a:ext cx="10591800" cy="23613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6123">
                  <a:extLst>
                    <a:ext uri="{9D8B030D-6E8A-4147-A177-3AD203B41FA5}">
                      <a16:colId xmlns:a16="http://schemas.microsoft.com/office/drawing/2014/main" val="918217510"/>
                    </a:ext>
                  </a:extLst>
                </a:gridCol>
                <a:gridCol w="9105677">
                  <a:extLst>
                    <a:ext uri="{9D8B030D-6E8A-4147-A177-3AD203B41FA5}">
                      <a16:colId xmlns:a16="http://schemas.microsoft.com/office/drawing/2014/main" val="381678097"/>
                    </a:ext>
                  </a:extLst>
                </a:gridCol>
              </a:tblGrid>
              <a:tr h="244694">
                <a:tc>
                  <a:txBody>
                    <a:bodyPr/>
                    <a:lstStyle/>
                    <a:p>
                      <a:endParaRPr lang="en-US" sz="2000" noProof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noProof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6586881"/>
                  </a:ext>
                </a:extLst>
              </a:tr>
              <a:tr h="1965106">
                <a:tc>
                  <a:txBody>
                    <a:bodyPr/>
                    <a:lstStyle/>
                    <a:p>
                      <a:r>
                        <a:rPr lang="en-US" sz="2000" b="1" noProof="0" dirty="0">
                          <a:solidFill>
                            <a:srgbClr val="635C5B"/>
                          </a:solidFill>
                        </a:rPr>
                        <a:t>Caveat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200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 Savings assume that past module decrease will continue over a year: e.g. between Dec. 2016 and Dec. 2017, crystalline silicon module price decline of 1% - 7%</a:t>
                      </a:r>
                      <a:endParaRPr lang="en-US" sz="2000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200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2000" b="1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In practice, bidders might avoid delay: the prospect of saving in project costs vs. risk of losing the PPA.</a:t>
                      </a:r>
                      <a:endParaRPr lang="en-US" sz="2000" b="1" noProof="0" dirty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5989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75662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 descr="A figure showing when to apply penalties in the project realization process based on delay times of zero, less than one, and more than one years">
            <a:extLst>
              <a:ext uri="{FF2B5EF4-FFF2-40B4-BE49-F238E27FC236}">
                <a16:creationId xmlns:a16="http://schemas.microsoft.com/office/drawing/2014/main" id="{E1A4E6BC-E77D-43F9-8B70-E52E2EF9D392}"/>
              </a:ext>
            </a:extLst>
          </p:cNvPr>
          <p:cNvGrpSpPr/>
          <p:nvPr/>
        </p:nvGrpSpPr>
        <p:grpSpPr>
          <a:xfrm>
            <a:off x="1852555" y="3551429"/>
            <a:ext cx="8486889" cy="3047999"/>
            <a:chOff x="1981201" y="3810001"/>
            <a:chExt cx="8486889" cy="304799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65EDBEB-F186-4F47-80CC-C6A950CD95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200401" y="4781366"/>
              <a:ext cx="3594709" cy="529685"/>
              <a:chOff x="1797480" y="220150"/>
              <a:chExt cx="997648" cy="399059"/>
            </a:xfrm>
            <a:solidFill>
              <a:srgbClr val="00B050"/>
            </a:solidFill>
          </p:grpSpPr>
          <p:sp>
            <p:nvSpPr>
              <p:cNvPr id="16" name="Arrow: Chevron 15">
                <a:extLst>
                  <a:ext uri="{FF2B5EF4-FFF2-40B4-BE49-F238E27FC236}">
                    <a16:creationId xmlns:a16="http://schemas.microsoft.com/office/drawing/2014/main" id="{A6701A8A-5C99-4B34-95A8-D9D263FF581B}"/>
                  </a:ext>
                </a:extLst>
              </p:cNvPr>
              <p:cNvSpPr/>
              <p:nvPr/>
            </p:nvSpPr>
            <p:spPr>
              <a:xfrm>
                <a:off x="1797480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Arrow: Chevron 8">
                <a:extLst>
                  <a:ext uri="{FF2B5EF4-FFF2-40B4-BE49-F238E27FC236}">
                    <a16:creationId xmlns:a16="http://schemas.microsoft.com/office/drawing/2014/main" id="{400907BF-39C3-47A1-BBE5-4FBCCFD5CDF9}"/>
                  </a:ext>
                </a:extLst>
              </p:cNvPr>
              <p:cNvSpPr txBox="1"/>
              <p:nvPr/>
            </p:nvSpPr>
            <p:spPr>
              <a:xfrm>
                <a:off x="1997010" y="220150"/>
                <a:ext cx="598589" cy="39905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dirty="0">
                    <a:solidFill>
                      <a:srgbClr val="FFFFFF"/>
                    </a:solidFill>
                    <a:cs typeface="Arial"/>
                  </a:rPr>
                  <a:t>Construction 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B3CB063-0AFC-4C56-88B0-B0E20B869E6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6600203" y="4796223"/>
              <a:ext cx="2333065" cy="529685"/>
              <a:chOff x="2695363" y="220150"/>
              <a:chExt cx="997648" cy="399059"/>
            </a:xfrm>
            <a:solidFill>
              <a:srgbClr val="00B050"/>
            </a:solidFill>
          </p:grpSpPr>
          <p:sp>
            <p:nvSpPr>
              <p:cNvPr id="14" name="Arrow: Chevron 13">
                <a:extLst>
                  <a:ext uri="{FF2B5EF4-FFF2-40B4-BE49-F238E27FC236}">
                    <a16:creationId xmlns:a16="http://schemas.microsoft.com/office/drawing/2014/main" id="{60072578-EFA7-4BE6-800E-ECBD64D7E273}"/>
                  </a:ext>
                </a:extLst>
              </p:cNvPr>
              <p:cNvSpPr/>
              <p:nvPr/>
            </p:nvSpPr>
            <p:spPr>
              <a:xfrm>
                <a:off x="269536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" name="Arrow: Chevron 10">
                <a:extLst>
                  <a:ext uri="{FF2B5EF4-FFF2-40B4-BE49-F238E27FC236}">
                    <a16:creationId xmlns:a16="http://schemas.microsoft.com/office/drawing/2014/main" id="{F52B847D-3AA7-4F8E-8EDB-CE8834D82CC5}"/>
                  </a:ext>
                </a:extLst>
              </p:cNvPr>
              <p:cNvSpPr txBox="1"/>
              <p:nvPr/>
            </p:nvSpPr>
            <p:spPr>
              <a:xfrm>
                <a:off x="2894893" y="220150"/>
                <a:ext cx="598589" cy="39905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dirty="0">
                    <a:solidFill>
                      <a:srgbClr val="FFFFFF"/>
                    </a:solidFill>
                    <a:cs typeface="Arial"/>
                  </a:rPr>
                  <a:t>Operation</a:t>
                </a: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E5B696D-F3A0-4ED9-AFF5-443FAE80EACF}"/>
                </a:ext>
              </a:extLst>
            </p:cNvPr>
            <p:cNvSpPr txBox="1"/>
            <p:nvPr/>
          </p:nvSpPr>
          <p:spPr>
            <a:xfrm>
              <a:off x="1981201" y="4812268"/>
              <a:ext cx="11828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3"/>
                  </a:solidFill>
                </a:rPr>
                <a:t>No delay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2F7EC0E-28D9-42D5-925B-70E68E785A39}"/>
                </a:ext>
              </a:extLst>
            </p:cNvPr>
            <p:cNvSpPr txBox="1"/>
            <p:nvPr/>
          </p:nvSpPr>
          <p:spPr>
            <a:xfrm>
              <a:off x="1981201" y="5426364"/>
              <a:ext cx="11828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3"/>
                  </a:solidFill>
                </a:rPr>
                <a:t>Delay up to 1 year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CD8CFC0-2A4F-48E6-BAE2-6EE53310EE6F}"/>
                </a:ext>
              </a:extLst>
            </p:cNvPr>
            <p:cNvSpPr txBox="1"/>
            <p:nvPr/>
          </p:nvSpPr>
          <p:spPr>
            <a:xfrm>
              <a:off x="1981201" y="6139533"/>
              <a:ext cx="11828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accent3"/>
                  </a:solidFill>
                </a:rPr>
                <a:t>Delay &gt; 1 year</a:t>
              </a:r>
            </a:p>
          </p:txBody>
        </p:sp>
        <p:sp>
          <p:nvSpPr>
            <p:cNvPr id="24" name="Flowchart: Process 23">
              <a:extLst>
                <a:ext uri="{FF2B5EF4-FFF2-40B4-BE49-F238E27FC236}">
                  <a16:creationId xmlns:a16="http://schemas.microsoft.com/office/drawing/2014/main" id="{B1488BE8-C757-48DC-A327-9446FB6244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5400000">
              <a:off x="2839000" y="4981690"/>
              <a:ext cx="615085" cy="100506"/>
            </a:xfrm>
            <a:prstGeom prst="flowChartProcess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ight Brace 24">
              <a:extLst>
                <a:ext uri="{FF2B5EF4-FFF2-40B4-BE49-F238E27FC236}">
                  <a16:creationId xmlns:a16="http://schemas.microsoft.com/office/drawing/2014/main" id="{E1AB3BF1-24E7-425D-BAC5-17D3E371DA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16200000">
              <a:off x="4722241" y="2865196"/>
              <a:ext cx="362706" cy="3329903"/>
            </a:xfrm>
            <a:prstGeom prst="righ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BB2F681-35EE-4843-A7A7-C222A7543C80}"/>
                </a:ext>
              </a:extLst>
            </p:cNvPr>
            <p:cNvSpPr txBox="1"/>
            <p:nvPr/>
          </p:nvSpPr>
          <p:spPr>
            <a:xfrm>
              <a:off x="3730301" y="3810001"/>
              <a:ext cx="230505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3"/>
                  </a:solidFill>
                </a:rPr>
                <a:t>Realization deadline</a:t>
              </a:r>
            </a:p>
            <a:p>
              <a:pPr algn="ctr"/>
              <a:r>
                <a:rPr lang="en-US" sz="1600" dirty="0">
                  <a:solidFill>
                    <a:schemeClr val="accent3"/>
                  </a:solidFill>
                </a:rPr>
                <a:t>2 years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33BFDB2-A7DA-4613-8BEC-389F92672A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2781" y="4781365"/>
              <a:ext cx="545634" cy="545634"/>
            </a:xfrm>
            <a:prstGeom prst="rect">
              <a:avLst/>
            </a:prstGeom>
            <a:noFill/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7606F73-1C09-4076-8F78-1F490D7C67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196794" y="5530205"/>
              <a:ext cx="3608460" cy="529685"/>
              <a:chOff x="1797480" y="220150"/>
              <a:chExt cx="1000461" cy="399059"/>
            </a:xfrm>
            <a:solidFill>
              <a:srgbClr val="00B050"/>
            </a:solidFill>
          </p:grpSpPr>
          <p:sp>
            <p:nvSpPr>
              <p:cNvPr id="35" name="Arrow: Chevron 34">
                <a:extLst>
                  <a:ext uri="{FF2B5EF4-FFF2-40B4-BE49-F238E27FC236}">
                    <a16:creationId xmlns:a16="http://schemas.microsoft.com/office/drawing/2014/main" id="{EA829F4C-6461-40E0-A8E8-58F255B4F3C1}"/>
                  </a:ext>
                </a:extLst>
              </p:cNvPr>
              <p:cNvSpPr/>
              <p:nvPr/>
            </p:nvSpPr>
            <p:spPr>
              <a:xfrm>
                <a:off x="1797480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Arrow: Chevron 8">
                <a:extLst>
                  <a:ext uri="{FF2B5EF4-FFF2-40B4-BE49-F238E27FC236}">
                    <a16:creationId xmlns:a16="http://schemas.microsoft.com/office/drawing/2014/main" id="{97E53D8C-31D1-4C33-BC25-1F18C7351BE5}"/>
                  </a:ext>
                </a:extLst>
              </p:cNvPr>
              <p:cNvSpPr txBox="1"/>
              <p:nvPr/>
            </p:nvSpPr>
            <p:spPr>
              <a:xfrm>
                <a:off x="1997010" y="220150"/>
                <a:ext cx="800931" cy="3990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dirty="0">
                    <a:solidFill>
                      <a:srgbClr val="FFFFFF"/>
                    </a:solidFill>
                    <a:cs typeface="Arial"/>
                  </a:rPr>
                  <a:t>Construction </a:t>
                </a:r>
              </a:p>
            </p:txBody>
          </p:sp>
        </p:grpSp>
        <p:sp>
          <p:nvSpPr>
            <p:cNvPr id="37" name="Flowchart: Process 36">
              <a:extLst>
                <a:ext uri="{FF2B5EF4-FFF2-40B4-BE49-F238E27FC236}">
                  <a16:creationId xmlns:a16="http://schemas.microsoft.com/office/drawing/2014/main" id="{BB41855D-968D-4676-B87A-6F03A7A105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5400000">
              <a:off x="2835395" y="5730529"/>
              <a:ext cx="615085" cy="100506"/>
            </a:xfrm>
            <a:prstGeom prst="flowChartProcess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Arrow: Chevron 38">
              <a:extLst>
                <a:ext uri="{FF2B5EF4-FFF2-40B4-BE49-F238E27FC236}">
                  <a16:creationId xmlns:a16="http://schemas.microsoft.com/office/drawing/2014/main" id="{A0DBE78B-C3C3-4BB4-9339-5C3B9AEB4F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68545" y="5522922"/>
              <a:ext cx="2058482" cy="529685"/>
            </a:xfrm>
            <a:prstGeom prst="chevron">
              <a:avLst/>
            </a:prstGeom>
            <a:gradFill flip="none" rotWithShape="1">
              <a:gsLst>
                <a:gs pos="38000">
                  <a:srgbClr val="FFC000"/>
                </a:gs>
                <a:gs pos="18000">
                  <a:srgbClr val="FFFF00"/>
                </a:gs>
                <a:gs pos="93000">
                  <a:srgbClr val="FF0000">
                    <a:alpha val="50000"/>
                  </a:srgbClr>
                </a:gs>
              </a:gsLst>
              <a:lin ang="0" scaled="1"/>
              <a:tileRect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 dirty="0">
                <a:solidFill>
                  <a:srgbClr val="FFFFFF"/>
                </a:solidFill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3D8E78B5-BF82-47A3-8ADE-782F6C8204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2781" y="5550366"/>
              <a:ext cx="545634" cy="545634"/>
            </a:xfrm>
            <a:prstGeom prst="rect">
              <a:avLst/>
            </a:prstGeom>
            <a:noFill/>
          </p:spPr>
        </p:pic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7270E803-CD4E-4D19-BAE4-CCDC3C14C7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8409608" y="5526157"/>
              <a:ext cx="2058482" cy="529685"/>
              <a:chOff x="2695363" y="220150"/>
              <a:chExt cx="997648" cy="399059"/>
            </a:xfrm>
            <a:solidFill>
              <a:srgbClr val="00B050"/>
            </a:solidFill>
          </p:grpSpPr>
          <p:sp>
            <p:nvSpPr>
              <p:cNvPr id="46" name="Arrow: Chevron 45">
                <a:extLst>
                  <a:ext uri="{FF2B5EF4-FFF2-40B4-BE49-F238E27FC236}">
                    <a16:creationId xmlns:a16="http://schemas.microsoft.com/office/drawing/2014/main" id="{01020EE1-B0A4-444F-9615-06B7DB402795}"/>
                  </a:ext>
                </a:extLst>
              </p:cNvPr>
              <p:cNvSpPr/>
              <p:nvPr/>
            </p:nvSpPr>
            <p:spPr>
              <a:xfrm>
                <a:off x="269536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Arrow: Chevron 10">
                <a:extLst>
                  <a:ext uri="{FF2B5EF4-FFF2-40B4-BE49-F238E27FC236}">
                    <a16:creationId xmlns:a16="http://schemas.microsoft.com/office/drawing/2014/main" id="{C85E3176-F31A-4F6F-ADCD-1938C94B6B5D}"/>
                  </a:ext>
                </a:extLst>
              </p:cNvPr>
              <p:cNvSpPr txBox="1"/>
              <p:nvPr/>
            </p:nvSpPr>
            <p:spPr>
              <a:xfrm>
                <a:off x="2894893" y="220150"/>
                <a:ext cx="598589" cy="39905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dirty="0">
                    <a:solidFill>
                      <a:srgbClr val="FFFFFF"/>
                    </a:solidFill>
                    <a:cs typeface="Arial"/>
                  </a:rPr>
                  <a:t>Operation</a:t>
                </a:r>
              </a:p>
            </p:txBody>
          </p:sp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3256442D-5AFD-4C26-B303-327AC23234B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40710" y="5510515"/>
              <a:ext cx="554497" cy="554497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01A901CB-479C-4C3A-AA75-68A1CFEDC5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7446" y="5586622"/>
              <a:ext cx="422307" cy="422307"/>
            </a:xfrm>
            <a:prstGeom prst="rect">
              <a:avLst/>
            </a:prstGeom>
            <a:noFill/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77F73A7E-651B-442C-8252-0C7AC70538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8782" y="5629397"/>
              <a:ext cx="316730" cy="316730"/>
            </a:xfrm>
            <a:prstGeom prst="rect">
              <a:avLst/>
            </a:prstGeom>
            <a:noFill/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B2DE1EAD-999A-445C-8C8E-5B502ED94D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4543" y="5689470"/>
              <a:ext cx="211153" cy="211153"/>
            </a:xfrm>
            <a:prstGeom prst="rect">
              <a:avLst/>
            </a:prstGeom>
            <a:noFill/>
          </p:spPr>
        </p:pic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169E1C1-CEE7-427B-86FF-2437473DED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3152111" y="6216005"/>
              <a:ext cx="3608460" cy="529685"/>
              <a:chOff x="1797480" y="220150"/>
              <a:chExt cx="1000461" cy="399059"/>
            </a:xfrm>
            <a:solidFill>
              <a:srgbClr val="00B050"/>
            </a:solidFill>
          </p:grpSpPr>
          <p:sp>
            <p:nvSpPr>
              <p:cNvPr id="52" name="Arrow: Chevron 51">
                <a:extLst>
                  <a:ext uri="{FF2B5EF4-FFF2-40B4-BE49-F238E27FC236}">
                    <a16:creationId xmlns:a16="http://schemas.microsoft.com/office/drawing/2014/main" id="{4B3D87CB-4087-4F18-A24D-B31CB8C40AB3}"/>
                  </a:ext>
                </a:extLst>
              </p:cNvPr>
              <p:cNvSpPr/>
              <p:nvPr/>
            </p:nvSpPr>
            <p:spPr>
              <a:xfrm>
                <a:off x="1797480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de-DE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Arrow: Chevron 8">
                <a:extLst>
                  <a:ext uri="{FF2B5EF4-FFF2-40B4-BE49-F238E27FC236}">
                    <a16:creationId xmlns:a16="http://schemas.microsoft.com/office/drawing/2014/main" id="{6FB00F94-F1A8-4307-9E20-E58A89A5D88C}"/>
                  </a:ext>
                </a:extLst>
              </p:cNvPr>
              <p:cNvSpPr txBox="1"/>
              <p:nvPr/>
            </p:nvSpPr>
            <p:spPr>
              <a:xfrm>
                <a:off x="1997010" y="220150"/>
                <a:ext cx="800931" cy="3990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algn="ctr" defTabSz="3556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dirty="0">
                    <a:solidFill>
                      <a:srgbClr val="FFFFFF"/>
                    </a:solidFill>
                    <a:cs typeface="Arial"/>
                  </a:rPr>
                  <a:t>Construction </a:t>
                </a:r>
              </a:p>
            </p:txBody>
          </p:sp>
        </p:grpSp>
        <p:sp>
          <p:nvSpPr>
            <p:cNvPr id="54" name="Flowchart: Process 53">
              <a:extLst>
                <a:ext uri="{FF2B5EF4-FFF2-40B4-BE49-F238E27FC236}">
                  <a16:creationId xmlns:a16="http://schemas.microsoft.com/office/drawing/2014/main" id="{2D85A32C-1B53-418C-8323-D843066EBF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 rot="5400000">
              <a:off x="2790712" y="6416329"/>
              <a:ext cx="615085" cy="100506"/>
            </a:xfrm>
            <a:prstGeom prst="flowChartProcess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Arrow: Chevron 54">
              <a:extLst>
                <a:ext uri="{FF2B5EF4-FFF2-40B4-BE49-F238E27FC236}">
                  <a16:creationId xmlns:a16="http://schemas.microsoft.com/office/drawing/2014/main" id="{2D63898D-FA18-49EB-B354-6C5C0D3065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23862" y="6208722"/>
              <a:ext cx="2620138" cy="529685"/>
            </a:xfrm>
            <a:prstGeom prst="chevron">
              <a:avLst/>
            </a:prstGeom>
            <a:gradFill flip="none" rotWithShape="1">
              <a:gsLst>
                <a:gs pos="38000">
                  <a:srgbClr val="FFC000"/>
                </a:gs>
                <a:gs pos="18000">
                  <a:srgbClr val="FFFF00"/>
                </a:gs>
                <a:gs pos="93000">
                  <a:srgbClr val="FF0000">
                    <a:alpha val="50000"/>
                  </a:srgbClr>
                </a:gs>
              </a:gsLst>
              <a:lin ang="0" scaled="1"/>
              <a:tileRect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de-DE" dirty="0">
                <a:solidFill>
                  <a:srgbClr val="FFFFFF"/>
                </a:solidFill>
              </a:endParaRP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91940C98-A6DF-4E43-80D1-1B2952060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8098" y="6236166"/>
              <a:ext cx="545634" cy="545634"/>
            </a:xfrm>
            <a:prstGeom prst="rect">
              <a:avLst/>
            </a:prstGeom>
            <a:noFill/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54297664-F417-4DB1-B88B-79077D9968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96027" y="6196315"/>
              <a:ext cx="554497" cy="554497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DC2EA59A-C189-414B-A425-27610A75733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2763" y="6272422"/>
              <a:ext cx="422307" cy="422307"/>
            </a:xfrm>
            <a:prstGeom prst="rect">
              <a:avLst/>
            </a:prstGeom>
            <a:noFill/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590291D9-997D-47B7-B529-32F608D2C3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4099" y="6315197"/>
              <a:ext cx="316730" cy="316730"/>
            </a:xfrm>
            <a:prstGeom prst="rect">
              <a:avLst/>
            </a:prstGeom>
            <a:noFill/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BAA1DDC4-017D-4D68-A74A-B81B487018B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9860" y="6375270"/>
              <a:ext cx="211153" cy="211153"/>
            </a:xfrm>
            <a:prstGeom prst="rect">
              <a:avLst/>
            </a:prstGeom>
            <a:noFill/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8DDF24A2-3122-4D3A-9918-FD64550BF6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884975" y="6056010"/>
              <a:ext cx="801990" cy="801990"/>
            </a:xfrm>
            <a:prstGeom prst="rect">
              <a:avLst/>
            </a:prstGeom>
          </p:spPr>
        </p:pic>
        <p:sp>
          <p:nvSpPr>
            <p:cNvPr id="65" name="&quot;Not Allowed&quot; Symbol 64">
              <a:extLst>
                <a:ext uri="{FF2B5EF4-FFF2-40B4-BE49-F238E27FC236}">
                  <a16:creationId xmlns:a16="http://schemas.microsoft.com/office/drawing/2014/main" id="{BEED574E-1B2F-40C0-B92D-BEEBB74566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982507" y="6163568"/>
              <a:ext cx="627983" cy="606028"/>
            </a:xfrm>
            <a:prstGeom prst="noSmoking">
              <a:avLst>
                <a:gd name="adj" fmla="val 5519"/>
              </a:avLst>
            </a:prstGeom>
            <a:solidFill>
              <a:srgbClr val="BA0C2F"/>
            </a:solidFill>
            <a:ln>
              <a:solidFill>
                <a:srgbClr val="651D3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A7A0D8B-F936-421B-9439-5512A4705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6294048"/>
              </p:ext>
            </p:extLst>
          </p:nvPr>
        </p:nvGraphicFramePr>
        <p:xfrm>
          <a:off x="937101" y="1592669"/>
          <a:ext cx="9677399" cy="195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6645">
                  <a:extLst>
                    <a:ext uri="{9D8B030D-6E8A-4147-A177-3AD203B41FA5}">
                      <a16:colId xmlns:a16="http://schemas.microsoft.com/office/drawing/2014/main" val="918217510"/>
                    </a:ext>
                  </a:extLst>
                </a:gridCol>
                <a:gridCol w="8320754">
                  <a:extLst>
                    <a:ext uri="{9D8B030D-6E8A-4147-A177-3AD203B41FA5}">
                      <a16:colId xmlns:a16="http://schemas.microsoft.com/office/drawing/2014/main" val="381678097"/>
                    </a:ext>
                  </a:extLst>
                </a:gridCol>
              </a:tblGrid>
              <a:tr h="296759">
                <a:tc>
                  <a:txBody>
                    <a:bodyPr/>
                    <a:lstStyle/>
                    <a:p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6586881"/>
                  </a:ext>
                </a:extLst>
              </a:tr>
              <a:tr h="1593000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When to apply them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Penalties are to be executed in case of delays in the commissioning of the project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The penalty should execute the completion bond, e.g. $83.55/kW - $116.97/kW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Consider escalation of the penalty over time, e.g. over a 12-month delay period. 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Ex.: 1/12 of the penalty per month of delay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PPA cancellation in case of severe delays (e.g. of more than a year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151795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Example: setting penalties (1II/III)</a:t>
            </a:r>
          </a:p>
        </p:txBody>
      </p:sp>
    </p:spTree>
    <p:extLst>
      <p:ext uri="{BB962C8B-B14F-4D97-AF65-F5344CB8AC3E}">
        <p14:creationId xmlns:p14="http://schemas.microsoft.com/office/powerpoint/2010/main" val="2115677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2A4AAE3-D2B2-4982-B833-4DB9AA58D0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CF8B67D-E046-49B8-907F-1B1E106BEEA6}"/>
              </a:ext>
            </a:extLst>
          </p:cNvPr>
          <p:cNvSpPr/>
          <p:nvPr/>
        </p:nvSpPr>
        <p:spPr>
          <a:xfrm>
            <a:off x="7600146" y="5889082"/>
            <a:ext cx="27029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400" dirty="0">
                <a:solidFill>
                  <a:schemeClr val="accent3"/>
                </a:solidFill>
              </a:rPr>
              <a:t>(*1 USD = 69.3510 Indian Rupees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126E5D-1F78-4C17-B6AF-186DFFFB4617}"/>
              </a:ext>
            </a:extLst>
          </p:cNvPr>
          <p:cNvSpPr/>
          <p:nvPr/>
        </p:nvSpPr>
        <p:spPr>
          <a:xfrm>
            <a:off x="6415826" y="1850447"/>
            <a:ext cx="3887304" cy="4031873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00B050"/>
                </a:solidFill>
              </a:rPr>
              <a:t>Relevance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Control over maximum cost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Create price signal for marke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US" sz="1600" b="1" dirty="0">
                <a:solidFill>
                  <a:srgbClr val="C00000"/>
                </a:solidFill>
              </a:rPr>
              <a:t>Disadvantage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Too high could signal lack of competition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Too low could crowd-out competition.</a:t>
            </a:r>
          </a:p>
          <a:p>
            <a:pPr>
              <a:defRPr/>
            </a:pPr>
            <a:r>
              <a:rPr lang="en-US" sz="1600" dirty="0">
                <a:solidFill>
                  <a:srgbClr val="635C5B"/>
                </a:solidFill>
                <a:sym typeface="Wingdings" panose="05000000000000000000" pitchFamily="2" charset="2"/>
              </a:rPr>
              <a:t> India: Developers deemed $3.89* ct/kWh unrealistic in hybrid procurement.</a:t>
            </a:r>
            <a:endParaRPr lang="en-US" sz="1600" dirty="0">
              <a:solidFill>
                <a:srgbClr val="635C5B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Ceiling difficult to set if little informat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US" sz="1600" b="1" dirty="0">
                <a:solidFill>
                  <a:srgbClr val="000000"/>
                </a:solidFill>
              </a:rPr>
              <a:t>Calculation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LCOE + producer ren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If applicable: previous feed-in tariff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Cash-flow model analysi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Adapt based on experienc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63F6781-9A48-4272-8BEA-CAF3F55B66CA}"/>
              </a:ext>
            </a:extLst>
          </p:cNvPr>
          <p:cNvSpPr/>
          <p:nvPr/>
        </p:nvSpPr>
        <p:spPr>
          <a:xfrm>
            <a:off x="6415826" y="1480232"/>
            <a:ext cx="3887304" cy="36933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srgbClr val="FFFFFF"/>
                </a:solidFill>
              </a:rPr>
              <a:t>Ceiling prices: relevance and calculation</a:t>
            </a:r>
          </a:p>
        </p:txBody>
      </p:sp>
      <p:grpSp>
        <p:nvGrpSpPr>
          <p:cNvPr id="10" name="Group 9" descr="A chart showing bid results in auctions with and without ceiling prices">
            <a:extLst>
              <a:ext uri="{FF2B5EF4-FFF2-40B4-BE49-F238E27FC236}">
                <a16:creationId xmlns:a16="http://schemas.microsoft.com/office/drawing/2014/main" id="{95775E31-D94F-4633-8B40-B800EE9EF3B9}"/>
              </a:ext>
            </a:extLst>
          </p:cNvPr>
          <p:cNvGrpSpPr/>
          <p:nvPr/>
        </p:nvGrpSpPr>
        <p:grpSpPr>
          <a:xfrm>
            <a:off x="1869102" y="1752601"/>
            <a:ext cx="4226898" cy="3858882"/>
            <a:chOff x="1869102" y="1752601"/>
            <a:chExt cx="4226898" cy="3858882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6842C85-C572-4BB8-BB88-4FAD828ABB10}"/>
                </a:ext>
              </a:extLst>
            </p:cNvPr>
            <p:cNvSpPr txBox="1"/>
            <p:nvPr/>
          </p:nvSpPr>
          <p:spPr>
            <a:xfrm>
              <a:off x="2209112" y="1752601"/>
              <a:ext cx="3886888" cy="32887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No </a:t>
              </a:r>
              <a:r>
                <a:rPr lang="en-US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ceiling</a:t>
              </a:r>
              <a:r>
                <a:rPr lang="de-DE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 </a:t>
              </a:r>
              <a:r>
                <a:rPr lang="en-US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price</a:t>
              </a:r>
              <a:r>
                <a:rPr lang="de-DE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 vs. </a:t>
              </a:r>
              <a:r>
                <a:rPr lang="en-US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with</a:t>
              </a:r>
              <a:r>
                <a:rPr lang="de-DE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 </a:t>
              </a:r>
              <a:r>
                <a:rPr lang="en-US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ceiling</a:t>
              </a:r>
              <a:r>
                <a:rPr lang="de-DE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 </a:t>
              </a:r>
              <a:r>
                <a:rPr lang="en-US" sz="1300" b="1" dirty="0">
                  <a:solidFill>
                    <a:schemeClr val="accent4"/>
                  </a:solidFill>
                  <a:latin typeface="Verdana" pitchFamily="34" charset="0"/>
                  <a:cs typeface="Arial" charset="0"/>
                </a:rPr>
                <a:t>pric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27CE937-8F3F-4577-BA2C-B59759B657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357859" y="4490765"/>
              <a:ext cx="103949" cy="631242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6162486-6115-41FB-AE46-521E1B55EC42}"/>
                </a:ext>
              </a:extLst>
            </p:cNvPr>
            <p:cNvSpPr txBox="1"/>
            <p:nvPr/>
          </p:nvSpPr>
          <p:spPr>
            <a:xfrm>
              <a:off x="3642401" y="2151557"/>
              <a:ext cx="1385379" cy="6614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l">
                <a:lnSpc>
                  <a:spcPct val="150000"/>
                </a:lnSpc>
                <a:defRPr b="0"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dirty="0">
                  <a:cs typeface="Arial"/>
                </a:rPr>
                <a:t>Successful</a:t>
              </a:r>
              <a:r>
                <a:rPr lang="de-DE" sz="1300" dirty="0">
                  <a:cs typeface="Arial"/>
                </a:rPr>
                <a:t> </a:t>
              </a:r>
              <a:r>
                <a:rPr lang="en-US" sz="1300" dirty="0">
                  <a:cs typeface="Arial"/>
                </a:rPr>
                <a:t>bids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dirty="0">
                  <a:cs typeface="Arial"/>
                </a:rPr>
                <a:t>Unsuccessful</a:t>
              </a:r>
              <a:r>
                <a:rPr lang="de-DE" sz="1300" dirty="0">
                  <a:cs typeface="Arial"/>
                </a:rPr>
                <a:t> </a:t>
              </a:r>
              <a:r>
                <a:rPr lang="en-US" sz="1300" dirty="0">
                  <a:cs typeface="Arial"/>
                </a:rPr>
                <a:t>bid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951DB38-662A-48C5-B115-7E9C415842DE}"/>
                </a:ext>
              </a:extLst>
            </p:cNvPr>
            <p:cNvSpPr txBox="1"/>
            <p:nvPr/>
          </p:nvSpPr>
          <p:spPr>
            <a:xfrm>
              <a:off x="5295663" y="5104615"/>
              <a:ext cx="715516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cs typeface="Arial"/>
                </a:rPr>
                <a:t>Volum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cs typeface="Arial"/>
                </a:rPr>
                <a:t>in MW</a:t>
              </a:r>
              <a:endParaRPr lang="en-GB" sz="1300" b="1" dirty="0">
                <a:cs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4F22F6F-C6B6-401C-B6F1-10149CB5F585}"/>
                </a:ext>
              </a:extLst>
            </p:cNvPr>
            <p:cNvSpPr txBox="1"/>
            <p:nvPr/>
          </p:nvSpPr>
          <p:spPr>
            <a:xfrm>
              <a:off x="2327026" y="2678068"/>
              <a:ext cx="1035861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100" b="1" dirty="0">
                  <a:latin typeface="Gill Sans MT"/>
                  <a:cs typeface="Arial"/>
                </a:rPr>
                <a:t>Price 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100" b="1" dirty="0">
                  <a:latin typeface="Gill Sans MT"/>
                  <a:cs typeface="Arial"/>
                </a:rPr>
                <a:t>in Cent/kWh</a:t>
              </a:r>
              <a:endParaRPr lang="en-GB" sz="1100" b="1" dirty="0">
                <a:latin typeface="Gill Sans MT"/>
                <a:cs typeface="Arial"/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48EBE17-7EE9-46BA-B846-EA034CE12B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auto">
            <a:xfrm flipH="1">
              <a:off x="3349495" y="5297683"/>
              <a:ext cx="1622124" cy="13117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5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05D43EA-44A2-4417-B21A-E899E97F7037}"/>
                </a:ext>
              </a:extLst>
            </p:cNvPr>
            <p:cNvSpPr txBox="1"/>
            <p:nvPr/>
          </p:nvSpPr>
          <p:spPr>
            <a:xfrm>
              <a:off x="3335654" y="5282610"/>
              <a:ext cx="1649811" cy="3288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b="1" i="1" dirty="0">
                  <a:solidFill>
                    <a:srgbClr val="C60C30"/>
                  </a:solidFill>
                  <a:latin typeface="Verdana" pitchFamily="34" charset="0"/>
                  <a:cs typeface="Arial" charset="0"/>
                </a:rPr>
                <a:t>Defined</a:t>
              </a:r>
              <a:r>
                <a:rPr lang="de-DE" sz="1300" b="1" i="1" dirty="0">
                  <a:solidFill>
                    <a:srgbClr val="C60C30"/>
                  </a:solidFill>
                  <a:latin typeface="Verdana" pitchFamily="34" charset="0"/>
                  <a:cs typeface="Arial" charset="0"/>
                </a:rPr>
                <a:t> </a:t>
              </a:r>
              <a:r>
                <a:rPr lang="en-US" sz="1300" b="1" i="1" dirty="0">
                  <a:solidFill>
                    <a:srgbClr val="C60C30"/>
                  </a:solidFill>
                  <a:latin typeface="Verdana" pitchFamily="34" charset="0"/>
                  <a:cs typeface="Arial" charset="0"/>
                </a:rPr>
                <a:t>volume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6C6F2C7-BFB9-462E-BBB9-A130B98E10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461219" y="4439481"/>
              <a:ext cx="84983" cy="685602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C1AB1D8-E14B-42E9-BD4A-EDE31B440B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544282" y="4439220"/>
              <a:ext cx="435710" cy="685602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A3F4C72-CD8B-44B7-A180-67E4EBFC14D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995709" y="3880141"/>
              <a:ext cx="72875" cy="1243385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0246D7C-967F-42BF-BD33-132E2786D1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069351" y="3860851"/>
              <a:ext cx="389432" cy="1265445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A27240C-06A5-4BD3-9AE3-6AF56E0A8F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457701" y="3836217"/>
              <a:ext cx="201327" cy="1290078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412BDEB-0721-4F32-8372-70DAFA1D99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678206" y="3593936"/>
              <a:ext cx="294830" cy="1531229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E301CD8-478A-4F05-9C8A-F03B2A95AA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977272" y="3479899"/>
              <a:ext cx="247753" cy="164639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AFD4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FB6DA48-A799-4321-85B7-CC089B4486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5226441" y="3344999"/>
              <a:ext cx="211053" cy="176632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AFD4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01FA28D6-D7E1-462A-AE2C-C799085D2B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auto">
            <a:xfrm flipH="1">
              <a:off x="4971620" y="3026094"/>
              <a:ext cx="1" cy="209355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55AFF01-5789-47B5-8011-6345DBA494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439922" y="2589125"/>
              <a:ext cx="214552" cy="1628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AFD4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2B773F3-B832-4780-BA67-1EEC1834CF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439922" y="2294647"/>
              <a:ext cx="214552" cy="162885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0B6F02D2-2063-4D86-AD82-FEF7F061B0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/>
          </p:nvCxnSpPr>
          <p:spPr bwMode="auto">
            <a:xfrm flipV="1">
              <a:off x="3341133" y="5106361"/>
              <a:ext cx="2554848" cy="22295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050F0719-0B82-4389-9961-344173E4D9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34998" y="3814530"/>
              <a:ext cx="2399052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4F9009B-148F-4CF9-90F9-FAAD99BF01B6}"/>
                </a:ext>
              </a:extLst>
            </p:cNvPr>
            <p:cNvSpPr txBox="1"/>
            <p:nvPr/>
          </p:nvSpPr>
          <p:spPr>
            <a:xfrm>
              <a:off x="1869102" y="3459118"/>
              <a:ext cx="1406154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b="1" dirty="0">
                  <a:latin typeface="Gill Sans MT"/>
                  <a:cs typeface="Arial"/>
                </a:rPr>
                <a:t>Ceiling</a:t>
              </a:r>
              <a:r>
                <a:rPr lang="de-DE" sz="1100" b="1" dirty="0">
                  <a:latin typeface="Gill Sans MT"/>
                  <a:cs typeface="Arial"/>
                </a:rPr>
                <a:t> </a:t>
              </a:r>
              <a:r>
                <a:rPr lang="en-US" sz="1100" b="1" dirty="0">
                  <a:latin typeface="Gill Sans MT"/>
                  <a:cs typeface="Arial"/>
                </a:rPr>
                <a:t>pric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100" b="1" dirty="0">
                  <a:latin typeface="Gill Sans MT"/>
                  <a:cs typeface="Arial"/>
                </a:rPr>
                <a:t>(e.g. LCOE-</a:t>
              </a:r>
              <a:r>
                <a:rPr lang="en-US" sz="1100" b="1" dirty="0">
                  <a:latin typeface="Gill Sans MT"/>
                  <a:cs typeface="Arial"/>
                </a:rPr>
                <a:t>based</a:t>
              </a:r>
              <a:r>
                <a:rPr lang="de-DE" sz="1100" b="1" dirty="0">
                  <a:latin typeface="Gill Sans MT"/>
                  <a:cs typeface="Arial"/>
                </a:rPr>
                <a:t>)</a:t>
              </a:r>
              <a:endParaRPr lang="en-GB" sz="1100" b="1" dirty="0">
                <a:latin typeface="Gill Sans MT"/>
                <a:cs typeface="Arial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67AF98D-26BC-40D0-9C85-62786FD9B3C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4664678" y="3586745"/>
              <a:ext cx="294830" cy="1531229"/>
            </a:xfrm>
            <a:prstGeom prst="rect">
              <a:avLst/>
            </a:prstGeom>
            <a:noFill/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A05787F4-E19E-4AE3-9CA5-90F9F2DA0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iling prices control costs and generate market signals, but setting is a challenge</a:t>
            </a:r>
          </a:p>
        </p:txBody>
      </p:sp>
    </p:spTree>
    <p:extLst>
      <p:ext uri="{BB962C8B-B14F-4D97-AF65-F5344CB8AC3E}">
        <p14:creationId xmlns:p14="http://schemas.microsoft.com/office/powerpoint/2010/main" val="3187143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E6776C-5972-4155-9857-A52AA65F6F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1" name="Picture 10" descr="line graph indicating various cost ranges over time in years ">
            <a:extLst>
              <a:ext uri="{FF2B5EF4-FFF2-40B4-BE49-F238E27FC236}">
                <a16:creationId xmlns:a16="http://schemas.microsoft.com/office/drawing/2014/main" id="{DD6DBB18-8530-4483-B11A-53CA9A8B9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3704" y="3634066"/>
            <a:ext cx="8021082" cy="30715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1E9DD03-8008-4AAE-B21B-535F18CB90AB}"/>
              </a:ext>
            </a:extLst>
          </p:cNvPr>
          <p:cNvSpPr/>
          <p:nvPr/>
        </p:nvSpPr>
        <p:spPr>
          <a:xfrm>
            <a:off x="2729536" y="3124201"/>
            <a:ext cx="6693865" cy="646331"/>
          </a:xfrm>
          <a:prstGeom prst="rect">
            <a:avLst/>
          </a:prstGeom>
          <a:solidFill>
            <a:schemeClr val="accent3"/>
          </a:solidFill>
        </p:spPr>
        <p:txBody>
          <a:bodyPr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Net present value </a:t>
            </a:r>
            <a:r>
              <a:rPr lang="en-US" dirty="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en-US" dirty="0">
                <a:solidFill>
                  <a:schemeClr val="bg1"/>
                </a:solidFill>
              </a:rPr>
              <a:t>time value of money through discount rate.</a:t>
            </a:r>
          </a:p>
          <a:p>
            <a:pPr algn="ctr"/>
            <a:r>
              <a:rPr lang="de-DE" dirty="0">
                <a:solidFill>
                  <a:schemeClr val="bg1"/>
                </a:solidFill>
              </a:rPr>
              <a:t>Discount rate </a:t>
            </a:r>
            <a:r>
              <a:rPr lang="de-DE" dirty="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de-DE" dirty="0" err="1">
                <a:solidFill>
                  <a:schemeClr val="bg1"/>
                </a:solidFill>
              </a:rPr>
              <a:t>weighte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verag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cos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capital</a:t>
            </a:r>
            <a:r>
              <a:rPr lang="de-DE" dirty="0">
                <a:solidFill>
                  <a:schemeClr val="bg1"/>
                </a:solidFill>
              </a:rPr>
              <a:t> (WACC)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4721774-6120-4BA7-9AE8-3EB1E68DFC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052064"/>
              </p:ext>
            </p:extLst>
          </p:nvPr>
        </p:nvGraphicFramePr>
        <p:xfrm>
          <a:off x="2210104" y="1508760"/>
          <a:ext cx="7772400" cy="1188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6490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6305910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740433">
                <a:tc>
                  <a:txBody>
                    <a:bodyPr/>
                    <a:lstStyle/>
                    <a:p>
                      <a:r>
                        <a:rPr lang="en-US" sz="1800" b="0" noProof="0" dirty="0">
                          <a:solidFill>
                            <a:schemeClr val="bg1"/>
                          </a:solidFill>
                        </a:rPr>
                        <a:t>What does the LCOE tell us?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Revenue needed to cover total costs of building  and operating a power plant over its lif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Calculated over 20 year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noProof="0" dirty="0">
                          <a:solidFill>
                            <a:srgbClr val="635C5B"/>
                          </a:solidFill>
                        </a:rPr>
                        <a:t>Expressed in units of currency per kWh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8CCC460-6908-4B4B-ACEC-67BED1C05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alculate the levelized cost of electricity (LCOE)?</a:t>
            </a:r>
          </a:p>
        </p:txBody>
      </p:sp>
    </p:spTree>
    <p:extLst>
      <p:ext uri="{BB962C8B-B14F-4D97-AF65-F5344CB8AC3E}">
        <p14:creationId xmlns:p14="http://schemas.microsoft.com/office/powerpoint/2010/main" val="1983005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49C05-927F-3348-96DF-9086CF2761D6}" type="datetime1">
              <a:rPr lang="en-US"/>
              <a:pPr/>
              <a:t>7/3/2020</a:t>
            </a:fld>
            <a:endParaRPr lang="en-US" dirty="0"/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4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532E0A-CA4C-4918-8658-74EEB2791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189945" y="6499303"/>
            <a:ext cx="6411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000" dirty="0">
                <a:solidFill>
                  <a:srgbClr val="635C5B"/>
                </a:solidFill>
                <a:latin typeface="Gill Sans MT"/>
              </a:rPr>
              <a:t>©Abt Associates</a:t>
            </a:r>
            <a:endParaRPr lang="en-US" sz="1000" dirty="0">
              <a:solidFill>
                <a:srgbClr val="635C5B"/>
              </a:solidFill>
              <a:latin typeface="Gill Sans MT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352834D5-8847-4AE1-A4C7-0B7883D756AD}"/>
              </a:ext>
            </a:extLst>
          </p:cNvPr>
          <p:cNvSpPr txBox="1">
            <a:spLocks/>
          </p:cNvSpPr>
          <p:nvPr/>
        </p:nvSpPr>
        <p:spPr>
          <a:xfrm>
            <a:off x="1676400" y="4810780"/>
            <a:ext cx="8839200" cy="52322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0" i="0" kern="1200">
                <a:solidFill>
                  <a:srgbClr val="FFFFFF"/>
                </a:solidFill>
                <a:latin typeface="Gill Sans MT"/>
                <a:ea typeface="+mj-ea"/>
                <a:cs typeface="Gill Sans MT"/>
              </a:defRPr>
            </a:lvl1pPr>
          </a:lstStyle>
          <a:p>
            <a:pPr algn="ctr">
              <a:defRPr/>
            </a:pPr>
            <a:r>
              <a:rPr lang="en-US" sz="2800" dirty="0">
                <a:solidFill>
                  <a:schemeClr val="accent6"/>
                </a:solidFill>
              </a:rPr>
              <a:t>Ceiling price: LCOE + margin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080E49C-B8B3-41AB-AB91-6C87CF881E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766112"/>
              </p:ext>
            </p:extLst>
          </p:nvPr>
        </p:nvGraphicFramePr>
        <p:xfrm>
          <a:off x="1823217" y="1752600"/>
          <a:ext cx="8393166" cy="2621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93166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740433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Net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present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value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of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project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lifetime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costs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2000" b="0" noProof="0" dirty="0">
                          <a:solidFill>
                            <a:srgbClr val="635C5B"/>
                          </a:solidFill>
                        </a:rPr>
                        <a:t>Upfront investment cost (e.g. $1,446.34/kW wind in Brazil 2015)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2000" b="0" noProof="0" dirty="0">
                          <a:solidFill>
                            <a:srgbClr val="635C5B"/>
                          </a:solidFill>
                        </a:rPr>
                        <a:t>O&amp;M: O&amp;M contract,  land leases, insurance (e.g. $39.87/kW wind in Brazil 2015)</a:t>
                      </a:r>
                    </a:p>
                  </a:txBody>
                  <a:tcPr marL="121706" marR="121706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445093"/>
                  </a:ext>
                </a:extLst>
              </a:tr>
              <a:tr h="74043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Net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present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value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of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project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lifetime</a:t>
                      </a:r>
                      <a:r>
                        <a:rPr lang="de-DE" sz="2000" b="1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1" noProof="0" dirty="0" err="1">
                          <a:solidFill>
                            <a:srgbClr val="635C5B"/>
                          </a:solidFill>
                        </a:rPr>
                        <a:t>generation</a:t>
                      </a:r>
                      <a:endParaRPr lang="de-DE" sz="2000" b="1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Plant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capacity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*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full-load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hours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(8760 *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capacity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factor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, e.g. 47.5% wind in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Brazil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2015)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–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loss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in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quality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/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line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2000" b="0" noProof="0" dirty="0" err="1">
                          <a:solidFill>
                            <a:srgbClr val="635C5B"/>
                          </a:solidFill>
                        </a:rPr>
                        <a:t>losses</a:t>
                      </a:r>
                      <a:r>
                        <a:rPr lang="de-DE" sz="2000" b="0" noProof="0" dirty="0">
                          <a:solidFill>
                            <a:srgbClr val="635C5B"/>
                          </a:solidFill>
                        </a:rPr>
                        <a:t> </a:t>
                      </a:r>
                      <a:endParaRPr lang="en-US" sz="2000" b="0" noProof="0" dirty="0">
                        <a:solidFill>
                          <a:srgbClr val="635C5B"/>
                        </a:solidFill>
                      </a:endParaRPr>
                    </a:p>
                  </a:txBody>
                  <a:tcPr marL="121706" marR="121706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5845759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D6A9812A-A81B-46AD-BA80-6A15A254C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Levelized cost of energy (LCOE)</a:t>
            </a:r>
          </a:p>
        </p:txBody>
      </p:sp>
    </p:spTree>
    <p:extLst>
      <p:ext uri="{BB962C8B-B14F-4D97-AF65-F5344CB8AC3E}">
        <p14:creationId xmlns:p14="http://schemas.microsoft.com/office/powerpoint/2010/main" val="2458570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584BDD-4286-4B4B-AC5A-B47F3F7FF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10E7E3A-E8C5-4C71-98EF-7FA75AA56544}"/>
              </a:ext>
            </a:extLst>
          </p:cNvPr>
          <p:cNvSpPr/>
          <p:nvPr/>
        </p:nvSpPr>
        <p:spPr>
          <a:xfrm>
            <a:off x="6326495" y="4678740"/>
            <a:ext cx="3940485" cy="1569660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635C5B"/>
                </a:solidFill>
              </a:rPr>
              <a:t>Undisclosed ceiling pric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South Africa, Peru (rounds 1-3)</a:t>
            </a:r>
          </a:p>
          <a:p>
            <a:pPr>
              <a:defRPr/>
            </a:pPr>
            <a:r>
              <a:rPr lang="en-US" sz="1600" b="1" dirty="0">
                <a:solidFill>
                  <a:srgbClr val="635C5B"/>
                </a:solidFill>
              </a:rPr>
              <a:t>Disclosed ceiling pric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Brazil (combined with undisclosed auction volume), Mexico, India, Peru (round 4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06D9A06-8F9F-482E-A1F0-835B4B508E42}"/>
              </a:ext>
            </a:extLst>
          </p:cNvPr>
          <p:cNvSpPr/>
          <p:nvPr/>
        </p:nvSpPr>
        <p:spPr>
          <a:xfrm>
            <a:off x="6324601" y="4344634"/>
            <a:ext cx="3942379" cy="36933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srgbClr val="FFFFFF"/>
                </a:solidFill>
                <a:latin typeface="Arial"/>
              </a:rPr>
              <a:t>Country example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F73D1C8-6568-4874-B23D-9B55942590EE}"/>
              </a:ext>
            </a:extLst>
          </p:cNvPr>
          <p:cNvSpPr/>
          <p:nvPr/>
        </p:nvSpPr>
        <p:spPr>
          <a:xfrm>
            <a:off x="6322426" y="2136844"/>
            <a:ext cx="3927780" cy="2062103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00B050"/>
                </a:solidFill>
              </a:rPr>
              <a:t>Benefits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Helps prevent projects from being rejected in the auction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Gives bidders more planning security (sunk costs).</a:t>
            </a:r>
          </a:p>
          <a:p>
            <a:pPr>
              <a:defRPr/>
            </a:pPr>
            <a:r>
              <a:rPr lang="en-US" sz="1600" b="1" dirty="0">
                <a:solidFill>
                  <a:srgbClr val="C00000"/>
                </a:solidFill>
              </a:rPr>
              <a:t>Disadvantages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</a:rPr>
              <a:t>Bids close to ceiling price if low competi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FA26542-6FE1-4747-9BC8-02113144E705}"/>
              </a:ext>
            </a:extLst>
          </p:cNvPr>
          <p:cNvSpPr/>
          <p:nvPr/>
        </p:nvSpPr>
        <p:spPr>
          <a:xfrm>
            <a:off x="6322337" y="1755843"/>
            <a:ext cx="3927869" cy="36933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srgbClr val="FFFFFF"/>
                </a:solidFill>
                <a:latin typeface="Arial"/>
              </a:rPr>
              <a:t>Disclosing ceiling price</a:t>
            </a:r>
          </a:p>
        </p:txBody>
      </p:sp>
      <p:grpSp>
        <p:nvGrpSpPr>
          <p:cNvPr id="27" name="Group 26" descr="graph depicting defined volume by ceiling price for successful and unsuccessful bids ">
            <a:extLst>
              <a:ext uri="{FF2B5EF4-FFF2-40B4-BE49-F238E27FC236}">
                <a16:creationId xmlns:a16="http://schemas.microsoft.com/office/drawing/2014/main" id="{AEBD08B1-3D58-4FB4-8420-05197DBD2EC1}"/>
              </a:ext>
            </a:extLst>
          </p:cNvPr>
          <p:cNvGrpSpPr/>
          <p:nvPr/>
        </p:nvGrpSpPr>
        <p:grpSpPr>
          <a:xfrm>
            <a:off x="1574508" y="2485050"/>
            <a:ext cx="4371307" cy="3663823"/>
            <a:chOff x="50507" y="2485049"/>
            <a:chExt cx="4371307" cy="366382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B8F0B65-8018-4D04-A8D7-8CAC82A2D03C}"/>
                </a:ext>
              </a:extLst>
            </p:cNvPr>
            <p:cNvSpPr/>
            <p:nvPr/>
          </p:nvSpPr>
          <p:spPr bwMode="auto">
            <a:xfrm>
              <a:off x="1768493" y="4297747"/>
              <a:ext cx="103949" cy="631242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E71A532-DCE9-4CBF-8DB6-2F7D91E80070}"/>
                </a:ext>
              </a:extLst>
            </p:cNvPr>
            <p:cNvSpPr txBox="1"/>
            <p:nvPr/>
          </p:nvSpPr>
          <p:spPr>
            <a:xfrm>
              <a:off x="2014851" y="5491641"/>
              <a:ext cx="1367682" cy="6572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l">
                <a:lnSpc>
                  <a:spcPct val="150000"/>
                </a:lnSpc>
                <a:defRPr b="0"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dirty="0">
                  <a:solidFill>
                    <a:srgbClr val="635C5B"/>
                  </a:solidFill>
                  <a:latin typeface="+mn-lt"/>
                  <a:cs typeface="Arial"/>
                </a:rPr>
                <a:t>Successful</a:t>
              </a:r>
              <a:r>
                <a:rPr lang="de-DE" sz="1300" dirty="0">
                  <a:solidFill>
                    <a:srgbClr val="635C5B"/>
                  </a:solidFill>
                  <a:latin typeface="+mn-lt"/>
                  <a:cs typeface="Arial"/>
                </a:rPr>
                <a:t> </a:t>
              </a:r>
              <a:r>
                <a:rPr lang="en-US" sz="1300" dirty="0">
                  <a:solidFill>
                    <a:srgbClr val="635C5B"/>
                  </a:solidFill>
                  <a:latin typeface="+mn-lt"/>
                  <a:cs typeface="Arial"/>
                </a:rPr>
                <a:t>bids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dirty="0">
                  <a:solidFill>
                    <a:srgbClr val="635C5B"/>
                  </a:solidFill>
                  <a:latin typeface="+mn-lt"/>
                  <a:cs typeface="Arial"/>
                </a:rPr>
                <a:t>Unsuccessful</a:t>
              </a:r>
              <a:r>
                <a:rPr lang="de-DE" sz="1300" dirty="0">
                  <a:solidFill>
                    <a:srgbClr val="635C5B"/>
                  </a:solidFill>
                  <a:latin typeface="+mn-lt"/>
                  <a:cs typeface="Arial"/>
                </a:rPr>
                <a:t> </a:t>
              </a:r>
              <a:r>
                <a:rPr lang="en-US" sz="1300" dirty="0">
                  <a:solidFill>
                    <a:srgbClr val="635C5B"/>
                  </a:solidFill>
                  <a:latin typeface="+mn-lt"/>
                  <a:cs typeface="Arial"/>
                </a:rPr>
                <a:t>bid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1178027-0812-4865-95B0-ABBF53B7904A}"/>
                </a:ext>
              </a:extLst>
            </p:cNvPr>
            <p:cNvSpPr txBox="1"/>
            <p:nvPr/>
          </p:nvSpPr>
          <p:spPr>
            <a:xfrm>
              <a:off x="3646794" y="4911596"/>
              <a:ext cx="775020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solidFill>
                    <a:srgbClr val="635C5B"/>
                  </a:solidFill>
                  <a:latin typeface="+mn-lt"/>
                  <a:cs typeface="Arial"/>
                </a:rPr>
                <a:t>Volum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solidFill>
                    <a:srgbClr val="635C5B"/>
                  </a:solidFill>
                  <a:latin typeface="+mn-lt"/>
                  <a:cs typeface="Arial"/>
                </a:rPr>
                <a:t>in MW</a:t>
              </a:r>
              <a:endParaRPr lang="en-GB" sz="1300" b="1" dirty="0">
                <a:solidFill>
                  <a:srgbClr val="635C5B"/>
                </a:solidFill>
                <a:latin typeface="+mn-lt"/>
                <a:cs typeface="Arial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C132061-0D55-4CA1-8A59-E352DBD4DF82}"/>
                </a:ext>
              </a:extLst>
            </p:cNvPr>
            <p:cNvSpPr txBox="1"/>
            <p:nvPr/>
          </p:nvSpPr>
          <p:spPr>
            <a:xfrm>
              <a:off x="585375" y="2485049"/>
              <a:ext cx="1188146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solidFill>
                    <a:srgbClr val="635C5B"/>
                  </a:solidFill>
                  <a:latin typeface="+mn-lt"/>
                  <a:cs typeface="Arial"/>
                </a:rPr>
                <a:t>Price 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solidFill>
                    <a:srgbClr val="635C5B"/>
                  </a:solidFill>
                  <a:latin typeface="+mn-lt"/>
                  <a:cs typeface="Arial"/>
                </a:rPr>
                <a:t>in Cent/kWh</a:t>
              </a:r>
              <a:endParaRPr lang="en-GB" sz="1300" b="1" dirty="0">
                <a:solidFill>
                  <a:srgbClr val="635C5B"/>
                </a:solidFill>
                <a:latin typeface="+mn-lt"/>
                <a:cs typeface="Arial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6C4F5AB-7BF7-43BE-9360-0BC22BFC1A0E}"/>
                </a:ext>
              </a:extLst>
            </p:cNvPr>
            <p:cNvCxnSpPr/>
            <p:nvPr/>
          </p:nvCxnSpPr>
          <p:spPr bwMode="auto">
            <a:xfrm flipH="1">
              <a:off x="1760130" y="5104664"/>
              <a:ext cx="1622124" cy="13117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5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4EE0C7-E238-44F0-9E94-3A2EE518392D}"/>
                </a:ext>
              </a:extLst>
            </p:cNvPr>
            <p:cNvSpPr txBox="1"/>
            <p:nvPr/>
          </p:nvSpPr>
          <p:spPr>
            <a:xfrm>
              <a:off x="1904183" y="5089591"/>
              <a:ext cx="1334020" cy="3340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b="1" i="1" dirty="0">
                  <a:solidFill>
                    <a:srgbClr val="C60C30"/>
                  </a:solidFill>
                  <a:cs typeface="Arial" charset="0"/>
                </a:rPr>
                <a:t>Defined</a:t>
              </a:r>
              <a:r>
                <a:rPr lang="de-DE" sz="1300" b="1" i="1" dirty="0">
                  <a:solidFill>
                    <a:srgbClr val="C60C30"/>
                  </a:solidFill>
                  <a:cs typeface="Arial" charset="0"/>
                </a:rPr>
                <a:t> </a:t>
              </a:r>
              <a:r>
                <a:rPr lang="en-US" sz="1300" b="1" i="1" dirty="0">
                  <a:solidFill>
                    <a:srgbClr val="C60C30"/>
                  </a:solidFill>
                  <a:cs typeface="Arial" charset="0"/>
                </a:rPr>
                <a:t>volum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7538EF3-F750-4F52-9F18-0FC973E83B8C}"/>
                </a:ext>
              </a:extLst>
            </p:cNvPr>
            <p:cNvSpPr/>
            <p:nvPr/>
          </p:nvSpPr>
          <p:spPr bwMode="auto">
            <a:xfrm>
              <a:off x="1871853" y="4246463"/>
              <a:ext cx="84983" cy="685602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B460F6C-7B3A-4BF2-AB6B-5DD0DA2B3E8F}"/>
                </a:ext>
              </a:extLst>
            </p:cNvPr>
            <p:cNvSpPr/>
            <p:nvPr/>
          </p:nvSpPr>
          <p:spPr bwMode="auto">
            <a:xfrm>
              <a:off x="1954917" y="4246202"/>
              <a:ext cx="435710" cy="685602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1563328-EB12-4256-8140-CF81B089301C}"/>
                </a:ext>
              </a:extLst>
            </p:cNvPr>
            <p:cNvSpPr/>
            <p:nvPr/>
          </p:nvSpPr>
          <p:spPr bwMode="auto">
            <a:xfrm>
              <a:off x="2406343" y="3687122"/>
              <a:ext cx="72875" cy="1243385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F91C8E0-0345-484B-A86A-EC419CED4762}"/>
                </a:ext>
              </a:extLst>
            </p:cNvPr>
            <p:cNvSpPr/>
            <p:nvPr/>
          </p:nvSpPr>
          <p:spPr bwMode="auto">
            <a:xfrm>
              <a:off x="2479986" y="3667832"/>
              <a:ext cx="389432" cy="1265445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D91988-716F-4973-A098-8F502D429FEB}"/>
                </a:ext>
              </a:extLst>
            </p:cNvPr>
            <p:cNvSpPr/>
            <p:nvPr/>
          </p:nvSpPr>
          <p:spPr bwMode="auto">
            <a:xfrm>
              <a:off x="2868335" y="3643199"/>
              <a:ext cx="201327" cy="1290078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8DE9406-A322-4B1D-833D-84260A7BF98A}"/>
                </a:ext>
              </a:extLst>
            </p:cNvPr>
            <p:cNvSpPr/>
            <p:nvPr/>
          </p:nvSpPr>
          <p:spPr bwMode="auto">
            <a:xfrm>
              <a:off x="3088841" y="3400917"/>
              <a:ext cx="294830" cy="1531229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03960A7-FFB5-4B3B-8B28-253FDF984FDB}"/>
                </a:ext>
              </a:extLst>
            </p:cNvPr>
            <p:cNvSpPr/>
            <p:nvPr/>
          </p:nvSpPr>
          <p:spPr bwMode="auto">
            <a:xfrm>
              <a:off x="3387906" y="3286880"/>
              <a:ext cx="247753" cy="164639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AFD4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9BCF963-35ED-48E2-9C8C-AF23228E1E59}"/>
                </a:ext>
              </a:extLst>
            </p:cNvPr>
            <p:cNvSpPr/>
            <p:nvPr/>
          </p:nvSpPr>
          <p:spPr bwMode="auto">
            <a:xfrm>
              <a:off x="3637075" y="3151981"/>
              <a:ext cx="211053" cy="176632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AFD4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F4E50955-F2A9-4DE1-8144-53F5A4CEE689}"/>
                </a:ext>
              </a:extLst>
            </p:cNvPr>
            <p:cNvCxnSpPr/>
            <p:nvPr/>
          </p:nvCxnSpPr>
          <p:spPr bwMode="auto">
            <a:xfrm flipH="1">
              <a:off x="3382254" y="2833076"/>
              <a:ext cx="1" cy="209355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2E47281-1FC9-45F1-B1FE-D9E7BD878F44}"/>
                </a:ext>
              </a:extLst>
            </p:cNvPr>
            <p:cNvSpPr/>
            <p:nvPr/>
          </p:nvSpPr>
          <p:spPr bwMode="auto">
            <a:xfrm>
              <a:off x="1779379" y="5924569"/>
              <a:ext cx="214552" cy="1628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AFD4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CF032CD-2847-4207-8AC3-2C9A52D0ED2F}"/>
                </a:ext>
              </a:extLst>
            </p:cNvPr>
            <p:cNvSpPr/>
            <p:nvPr/>
          </p:nvSpPr>
          <p:spPr bwMode="auto">
            <a:xfrm>
              <a:off x="1779379" y="5630091"/>
              <a:ext cx="214552" cy="162885"/>
            </a:xfrm>
            <a:prstGeom prst="rect">
              <a:avLst/>
            </a:prstGeom>
            <a:solidFill>
              <a:srgbClr val="AFD466"/>
            </a:solidFill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2D9E1B98-0C32-4745-8BEF-98752086BEF1}"/>
                </a:ext>
              </a:extLst>
            </p:cNvPr>
            <p:cNvCxnSpPr/>
            <p:nvPr/>
          </p:nvCxnSpPr>
          <p:spPr bwMode="auto">
            <a:xfrm flipV="1">
              <a:off x="1751768" y="4913342"/>
              <a:ext cx="2554848" cy="22295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2BF687E2-6025-460B-8CB8-75383E589406}"/>
                </a:ext>
              </a:extLst>
            </p:cNvPr>
            <p:cNvCxnSpPr/>
            <p:nvPr/>
          </p:nvCxnSpPr>
          <p:spPr bwMode="auto">
            <a:xfrm flipV="1">
              <a:off x="1752600" y="2821692"/>
              <a:ext cx="0" cy="2131309"/>
            </a:xfrm>
            <a:prstGeom prst="straightConnector1">
              <a:avLst/>
            </a:prstGeom>
            <a:solidFill>
              <a:srgbClr val="44546A"/>
            </a:solidFill>
            <a:ln w="190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1412CAD-066A-47C2-BEB2-242BBD299E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745633" y="3621512"/>
              <a:ext cx="2399052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561F996-0DB7-432C-9C64-54522BA8B6EC}"/>
                </a:ext>
              </a:extLst>
            </p:cNvPr>
            <p:cNvSpPr txBox="1"/>
            <p:nvPr/>
          </p:nvSpPr>
          <p:spPr>
            <a:xfrm>
              <a:off x="50507" y="3266099"/>
              <a:ext cx="1635384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b="1" dirty="0">
                  <a:solidFill>
                    <a:srgbClr val="635C5B"/>
                  </a:solidFill>
                  <a:latin typeface="+mn-lt"/>
                  <a:cs typeface="Arial"/>
                </a:rPr>
                <a:t>Ceiling</a:t>
              </a:r>
              <a:r>
                <a:rPr lang="de-DE" sz="1300" b="1" dirty="0">
                  <a:solidFill>
                    <a:srgbClr val="635C5B"/>
                  </a:solidFill>
                  <a:latin typeface="+mn-lt"/>
                  <a:cs typeface="Arial"/>
                </a:rPr>
                <a:t> </a:t>
              </a:r>
              <a:r>
                <a:rPr lang="en-US" sz="1300" b="1" dirty="0">
                  <a:solidFill>
                    <a:srgbClr val="635C5B"/>
                  </a:solidFill>
                  <a:latin typeface="+mn-lt"/>
                  <a:cs typeface="Arial"/>
                </a:rPr>
                <a:t>pric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300" b="1" dirty="0">
                  <a:solidFill>
                    <a:srgbClr val="635C5B"/>
                  </a:solidFill>
                  <a:latin typeface="+mn-lt"/>
                  <a:cs typeface="Arial"/>
                </a:rPr>
                <a:t>(e.g. LCOE-</a:t>
              </a:r>
              <a:r>
                <a:rPr lang="en-US" sz="1300" b="1" dirty="0">
                  <a:solidFill>
                    <a:srgbClr val="635C5B"/>
                  </a:solidFill>
                  <a:latin typeface="+mn-lt"/>
                  <a:cs typeface="Arial"/>
                </a:rPr>
                <a:t>based</a:t>
              </a:r>
              <a:r>
                <a:rPr lang="de-DE" sz="1300" b="1" dirty="0">
                  <a:solidFill>
                    <a:srgbClr val="635C5B"/>
                  </a:solidFill>
                  <a:latin typeface="+mn-lt"/>
                  <a:cs typeface="Arial"/>
                </a:rPr>
                <a:t>)</a:t>
              </a:r>
              <a:endParaRPr lang="en-GB" sz="1300" b="1" dirty="0">
                <a:solidFill>
                  <a:srgbClr val="635C5B"/>
                </a:solidFill>
                <a:latin typeface="+mn-lt"/>
                <a:cs typeface="Arial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F243ACF-FB03-4B97-895D-666ABC09EDAA}"/>
                </a:ext>
              </a:extLst>
            </p:cNvPr>
            <p:cNvSpPr/>
            <p:nvPr/>
          </p:nvSpPr>
          <p:spPr bwMode="auto">
            <a:xfrm>
              <a:off x="3075313" y="3393726"/>
              <a:ext cx="294830" cy="1531229"/>
            </a:xfrm>
            <a:prstGeom prst="rect">
              <a:avLst/>
            </a:prstGeom>
            <a:noFill/>
            <a:ln w="9525" cap="flat" cmpd="sng" algn="ctr">
              <a:solidFill>
                <a:srgbClr val="7AB8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b="1" dirty="0">
                <a:solidFill>
                  <a:srgbClr val="FFFFFF"/>
                </a:solidFill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6F932CB0-4A8E-4832-B0E3-695A5ED47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st countries disclose ceiling prices</a:t>
            </a:r>
          </a:p>
        </p:txBody>
      </p:sp>
    </p:spTree>
    <p:extLst>
      <p:ext uri="{BB962C8B-B14F-4D97-AF65-F5344CB8AC3E}">
        <p14:creationId xmlns:p14="http://schemas.microsoft.com/office/powerpoint/2010/main" val="947782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4FC745-D8DB-49E0-997A-E06E98C94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E6A2C1B-0E43-4FB6-A6D5-EB6F776719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sume a ceiling price of USD 7 cent/kWh (ceiling price chosen arbitrarily)</a:t>
            </a:r>
          </a:p>
          <a:p>
            <a:r>
              <a:rPr lang="en-US" dirty="0"/>
              <a:t>Have a look at the assignment sheet – you will find project costs assigned to you.</a:t>
            </a:r>
          </a:p>
          <a:p>
            <a:r>
              <a:rPr lang="en-US" dirty="0"/>
              <a:t>Given this information, note down the bid you are willing to make</a:t>
            </a:r>
          </a:p>
          <a:p>
            <a:r>
              <a:rPr lang="en-US" dirty="0"/>
              <a:t>Static sealed bid auction – all bidders hand in their bids at the same time </a:t>
            </a:r>
          </a:p>
          <a:p>
            <a:r>
              <a:rPr lang="en-US" dirty="0"/>
              <a:t>Announcement and quick evaluation of the result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BBD6A6-18F6-42FA-A209-3C4237F78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ction procedure: ceiling pr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7111BA-202D-476A-8F41-7190F63F5AF2}"/>
              </a:ext>
            </a:extLst>
          </p:cNvPr>
          <p:cNvSpPr/>
          <p:nvPr/>
        </p:nvSpPr>
        <p:spPr>
          <a:xfrm>
            <a:off x="8534400" y="411412"/>
            <a:ext cx="1828800" cy="91440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Interactive Session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19965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759C4E-EACB-445C-9CF4-AEA94DB7EF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CA1D940B-11CE-4524-ABCA-EA1ACDA4C934}"/>
              </a:ext>
            </a:extLst>
          </p:cNvPr>
          <p:cNvSpPr txBox="1">
            <a:spLocks/>
          </p:cNvSpPr>
          <p:nvPr/>
        </p:nvSpPr>
        <p:spPr bwMode="auto">
          <a:xfrm>
            <a:off x="6096000" y="2119631"/>
            <a:ext cx="4280452" cy="4401303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5938" indent="-285750">
              <a:spcAft>
                <a:spcPts val="0"/>
              </a:spcAft>
            </a:pPr>
            <a:endParaRPr lang="en-US" sz="1600" dirty="0"/>
          </a:p>
          <a:p>
            <a:pPr marL="0" indent="0">
              <a:lnSpc>
                <a:spcPct val="110000"/>
              </a:lnSpc>
              <a:spcAft>
                <a:spcPts val="0"/>
              </a:spcAft>
              <a:buNone/>
              <a:defRPr/>
            </a:pPr>
            <a:r>
              <a:rPr lang="en-US" sz="1800" b="1" dirty="0">
                <a:solidFill>
                  <a:schemeClr val="accent3"/>
                </a:solidFill>
              </a:rPr>
              <a:t>Ethiopia (government-sited, 100MW)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</a:p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800" dirty="0">
                <a:solidFill>
                  <a:schemeClr val="accent3"/>
                </a:solidFill>
              </a:rPr>
              <a:t>Bid bond: $3/kW</a:t>
            </a:r>
          </a:p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800" dirty="0">
                <a:solidFill>
                  <a:schemeClr val="accent3"/>
                </a:solidFill>
              </a:rPr>
              <a:t>Completion bond: $15/kW</a:t>
            </a:r>
          </a:p>
          <a:p>
            <a:pPr marL="0" indent="0">
              <a:lnSpc>
                <a:spcPct val="110000"/>
              </a:lnSpc>
              <a:spcAft>
                <a:spcPts val="0"/>
              </a:spcAft>
              <a:buNone/>
              <a:defRPr/>
            </a:pPr>
            <a:r>
              <a:rPr lang="en-US" sz="1800" b="1" dirty="0">
                <a:solidFill>
                  <a:schemeClr val="accent3"/>
                </a:solidFill>
              </a:rPr>
              <a:t>Zambia (government-sited, 2x50 MW)</a:t>
            </a:r>
          </a:p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800" dirty="0">
                <a:solidFill>
                  <a:schemeClr val="accent3"/>
                </a:solidFill>
              </a:rPr>
              <a:t>Bid bond: $26/kW</a:t>
            </a:r>
          </a:p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800" dirty="0">
                <a:solidFill>
                  <a:schemeClr val="accent3"/>
                </a:solidFill>
              </a:rPr>
              <a:t>Completion bond: $300/kW ($15M per project)</a:t>
            </a:r>
          </a:p>
          <a:p>
            <a:pPr marL="0" indent="0">
              <a:lnSpc>
                <a:spcPct val="110000"/>
              </a:lnSpc>
              <a:spcAft>
                <a:spcPts val="0"/>
              </a:spcAft>
              <a:buNone/>
              <a:defRPr/>
            </a:pPr>
            <a:r>
              <a:rPr lang="en-US" sz="1800" b="1" dirty="0">
                <a:solidFill>
                  <a:schemeClr val="accent3"/>
                </a:solidFill>
              </a:rPr>
              <a:t>South Africa (bidder-sited)</a:t>
            </a:r>
          </a:p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800" dirty="0">
                <a:solidFill>
                  <a:schemeClr val="accent3"/>
                </a:solidFill>
              </a:rPr>
              <a:t>Bid bond: $8/kW</a:t>
            </a:r>
          </a:p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800" dirty="0">
                <a:solidFill>
                  <a:schemeClr val="accent3"/>
                </a:solidFill>
              </a:rPr>
              <a:t>Completion bond: $16/kW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accent3"/>
                </a:solidFill>
              </a:rPr>
              <a:t>Brazil (bidder-sited)</a:t>
            </a:r>
          </a:p>
          <a:p>
            <a:pPr marL="274320" indent="-285750">
              <a:spcAft>
                <a:spcPts val="0"/>
              </a:spcAft>
            </a:pPr>
            <a:r>
              <a:rPr lang="en-US" sz="1800" dirty="0">
                <a:solidFill>
                  <a:schemeClr val="accent3"/>
                </a:solidFill>
              </a:rPr>
              <a:t>Bid bond: 1% of investment cost</a:t>
            </a:r>
          </a:p>
          <a:p>
            <a:pPr marL="274320" indent="-285750">
              <a:spcAft>
                <a:spcPts val="0"/>
              </a:spcAft>
            </a:pPr>
            <a:r>
              <a:rPr lang="en-US" sz="1800" dirty="0">
                <a:solidFill>
                  <a:schemeClr val="accent3"/>
                </a:solidFill>
              </a:rPr>
              <a:t>Completion bond: 5% of investment cost</a:t>
            </a:r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29923BFF-79AC-4FB3-99B9-017154576616}"/>
              </a:ext>
            </a:extLst>
          </p:cNvPr>
          <p:cNvSpPr txBox="1">
            <a:spLocks/>
          </p:cNvSpPr>
          <p:nvPr/>
        </p:nvSpPr>
        <p:spPr bwMode="auto">
          <a:xfrm>
            <a:off x="6096000" y="1752601"/>
            <a:ext cx="4280452" cy="36703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solidFill>
                  <a:schemeClr val="bg1"/>
                </a:solidFill>
              </a:rPr>
              <a:t>Country examples</a:t>
            </a:r>
          </a:p>
        </p:txBody>
      </p:sp>
      <p:sp>
        <p:nvSpPr>
          <p:cNvPr id="26" name="Content Placeholder 6">
            <a:extLst>
              <a:ext uri="{FF2B5EF4-FFF2-40B4-BE49-F238E27FC236}">
                <a16:creationId xmlns:a16="http://schemas.microsoft.com/office/drawing/2014/main" id="{209002E5-EDE4-4F91-8122-7E34BCB8782F}"/>
              </a:ext>
            </a:extLst>
          </p:cNvPr>
          <p:cNvSpPr txBox="1">
            <a:spLocks/>
          </p:cNvSpPr>
          <p:nvPr/>
        </p:nvSpPr>
        <p:spPr bwMode="auto">
          <a:xfrm>
            <a:off x="1828802" y="2119631"/>
            <a:ext cx="4120242" cy="4401303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  <a:p>
            <a:pPr marL="274320" indent="-274320">
              <a:lnSpc>
                <a:spcPct val="110000"/>
              </a:lnSpc>
            </a:pPr>
            <a:r>
              <a:rPr lang="en-US" dirty="0"/>
              <a:t>Sufficiently high financial guarantees help ensure </a:t>
            </a:r>
            <a:r>
              <a:rPr lang="en-US" b="1" dirty="0"/>
              <a:t>seriousness of bid </a:t>
            </a:r>
            <a:r>
              <a:rPr lang="en-US" dirty="0"/>
              <a:t>and </a:t>
            </a:r>
            <a:r>
              <a:rPr lang="en-US" b="1" dirty="0"/>
              <a:t>project completion</a:t>
            </a:r>
          </a:p>
          <a:p>
            <a:pPr lvl="1" indent="-274320">
              <a:lnSpc>
                <a:spcPct val="110000"/>
              </a:lnSpc>
            </a:pPr>
            <a:r>
              <a:rPr lang="en-US" dirty="0"/>
              <a:t>Balance with technical requirements and consider and risks.</a:t>
            </a:r>
          </a:p>
          <a:p>
            <a:pPr marL="274320" indent="-274320">
              <a:lnSpc>
                <a:spcPct val="110000"/>
              </a:lnSpc>
            </a:pPr>
            <a:r>
              <a:rPr lang="en-US" dirty="0"/>
              <a:t>Splitting financial guarantees between </a:t>
            </a:r>
            <a:r>
              <a:rPr lang="en-US" b="1" dirty="0"/>
              <a:t>commitment (bid bond) </a:t>
            </a:r>
            <a:r>
              <a:rPr lang="en-US" dirty="0"/>
              <a:t>and </a:t>
            </a:r>
            <a:r>
              <a:rPr lang="en-US" b="1" dirty="0"/>
              <a:t>completion (project completion)</a:t>
            </a:r>
            <a:r>
              <a:rPr lang="en-US" dirty="0"/>
              <a:t> helps:</a:t>
            </a:r>
          </a:p>
          <a:p>
            <a:pPr lvl="1" indent="-274320">
              <a:lnSpc>
                <a:spcPct val="110000"/>
              </a:lnSpc>
              <a:spcAft>
                <a:spcPts val="0"/>
              </a:spcAft>
            </a:pPr>
            <a:r>
              <a:rPr lang="en-US" dirty="0"/>
              <a:t>Seriousness of bid according to milestones</a:t>
            </a:r>
          </a:p>
          <a:p>
            <a:pPr lvl="1" indent="-274320">
              <a:lnSpc>
                <a:spcPct val="110000"/>
              </a:lnSpc>
            </a:pPr>
            <a:r>
              <a:rPr lang="en-US" dirty="0"/>
              <a:t>Balancing burden on bidders. 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AF086D83-12C3-4726-B463-E6D0CDA1E98C}"/>
              </a:ext>
            </a:extLst>
          </p:cNvPr>
          <p:cNvSpPr txBox="1">
            <a:spLocks/>
          </p:cNvSpPr>
          <p:nvPr/>
        </p:nvSpPr>
        <p:spPr bwMode="auto">
          <a:xfrm>
            <a:off x="1828801" y="1752601"/>
            <a:ext cx="4120243" cy="367031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200" dirty="0">
                <a:solidFill>
                  <a:schemeClr val="bg1"/>
                </a:solidFill>
              </a:rPr>
              <a:t>Consideration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CC874F-A8A3-40F0-A76F-17BD6B06B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ial guarantees: </a:t>
            </a:r>
            <a:br>
              <a:rPr lang="en-US" dirty="0"/>
            </a:br>
            <a:r>
              <a:rPr lang="en-US" dirty="0"/>
              <a:t>considerations and country examples</a:t>
            </a:r>
          </a:p>
        </p:txBody>
      </p:sp>
    </p:spTree>
    <p:extLst>
      <p:ext uri="{BB962C8B-B14F-4D97-AF65-F5344CB8AC3E}">
        <p14:creationId xmlns:p14="http://schemas.microsoft.com/office/powerpoint/2010/main" val="3838876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3" grpId="0" animBg="1"/>
      <p:bldP spid="26" grpId="0" animBg="1"/>
      <p:bldP spid="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F90A40-18A9-45F8-9328-13A258362A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AE4488D4-ED6E-4EA3-9245-EEB50C82CEA3}"/>
              </a:ext>
            </a:extLst>
          </p:cNvPr>
          <p:cNvSpPr txBox="1">
            <a:spLocks/>
          </p:cNvSpPr>
          <p:nvPr/>
        </p:nvSpPr>
        <p:spPr bwMode="auto">
          <a:xfrm>
            <a:off x="6413465" y="5063660"/>
            <a:ext cx="3916639" cy="1450289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Zambia: termination of PPA if longstop deadline missed.</a:t>
            </a:r>
          </a:p>
          <a:p>
            <a:pPr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600" dirty="0">
                <a:latin typeface="+mn-lt"/>
              </a:rPr>
              <a:t>South Africa: Reduction of PPA duration by 2 days/1 day of delay. Termination of PPA if deadline missed &gt; 180 days. </a:t>
            </a:r>
          </a:p>
          <a:p>
            <a:pPr marL="0" indent="0">
              <a:lnSpc>
                <a:spcPct val="110000"/>
              </a:lnSpc>
              <a:spcAft>
                <a:spcPts val="0"/>
              </a:spcAft>
              <a:buNone/>
              <a:defRPr/>
            </a:pPr>
            <a:r>
              <a:rPr lang="de-DE" sz="1600" dirty="0">
                <a:latin typeface="+mn-lt"/>
              </a:rPr>
              <a:t> </a:t>
            </a:r>
            <a:endParaRPr lang="en-US" sz="1600" dirty="0">
              <a:latin typeface="+mn-lt"/>
            </a:endParaRP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2C9DB83B-C909-4BE2-A4F9-0A22F2D13BE6}"/>
              </a:ext>
            </a:extLst>
          </p:cNvPr>
          <p:cNvSpPr txBox="1">
            <a:spLocks/>
          </p:cNvSpPr>
          <p:nvPr/>
        </p:nvSpPr>
        <p:spPr bwMode="auto">
          <a:xfrm>
            <a:off x="6408508" y="4780629"/>
            <a:ext cx="3921596" cy="28303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None/>
              <a:defRPr/>
            </a:pPr>
            <a:r>
              <a:rPr lang="en-US" sz="1800" dirty="0">
                <a:solidFill>
                  <a:srgbClr val="FFFFFF"/>
                </a:solidFill>
                <a:latin typeface="+mn-lt"/>
              </a:rPr>
              <a:t>Country examp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F921CC-92C1-4F05-85C8-1C0BC9D208D3}"/>
              </a:ext>
            </a:extLst>
          </p:cNvPr>
          <p:cNvSpPr txBox="1"/>
          <p:nvPr/>
        </p:nvSpPr>
        <p:spPr>
          <a:xfrm>
            <a:off x="6490602" y="4106202"/>
            <a:ext cx="37616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lvl="1" indent="-274320" fontAlgn="base">
              <a:spcBef>
                <a:spcPct val="0"/>
              </a:spcBef>
              <a:buClr>
                <a:srgbClr val="C00000"/>
              </a:buClr>
              <a:buSzPct val="110000"/>
              <a:buFont typeface="Verdana" panose="020B0604030504040204" pitchFamily="34" charset="0"/>
              <a:buChar char="-"/>
              <a:defRPr/>
            </a:pPr>
            <a:r>
              <a:rPr lang="en-US" sz="1600" kern="0" dirty="0">
                <a:solidFill>
                  <a:srgbClr val="635C5B"/>
                </a:solidFill>
                <a:cs typeface="Arial"/>
              </a:rPr>
              <a:t>Risk for bidders increases</a:t>
            </a:r>
          </a:p>
          <a:p>
            <a:pPr marL="274320" lvl="1" indent="-274320" fontAlgn="base">
              <a:spcBef>
                <a:spcPct val="0"/>
              </a:spcBef>
              <a:buClr>
                <a:srgbClr val="C00000"/>
              </a:buClr>
              <a:buSzPct val="110000"/>
              <a:buFont typeface="Verdana" panose="020B0604030504040204" pitchFamily="34" charset="0"/>
              <a:buChar char="-"/>
              <a:defRPr/>
            </a:pPr>
            <a:r>
              <a:rPr lang="en-US" sz="1600" kern="0" dirty="0">
                <a:solidFill>
                  <a:srgbClr val="635C5B"/>
                </a:solidFill>
                <a:cs typeface="Arial"/>
              </a:rPr>
              <a:t>Prohibitive barrier for (some) bidder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B7F829-D10D-4957-B42D-7CF1B9E8797D}"/>
              </a:ext>
            </a:extLst>
          </p:cNvPr>
          <p:cNvSpPr txBox="1"/>
          <p:nvPr/>
        </p:nvSpPr>
        <p:spPr>
          <a:xfrm>
            <a:off x="6490602" y="3621090"/>
            <a:ext cx="37616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1" indent="-271463" fontAlgn="base">
              <a:spcBef>
                <a:spcPct val="0"/>
              </a:spcBef>
              <a:spcAft>
                <a:spcPts val="600"/>
              </a:spcAft>
              <a:buClr>
                <a:srgbClr val="7AB800"/>
              </a:buClr>
              <a:buSzPct val="110000"/>
              <a:buFont typeface="Verdana" pitchFamily="34" charset="0"/>
              <a:buChar char="+"/>
              <a:defRPr/>
            </a:pPr>
            <a:r>
              <a:rPr lang="en-US" sz="1600" kern="0" dirty="0">
                <a:solidFill>
                  <a:srgbClr val="635C5B"/>
                </a:solidFill>
                <a:cs typeface="Arial"/>
              </a:rPr>
              <a:t>Incentive to realize due to penaltie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055D11-7539-4A0B-A72A-E44E1B1F1EE7}"/>
              </a:ext>
            </a:extLst>
          </p:cNvPr>
          <p:cNvSpPr txBox="1"/>
          <p:nvPr/>
        </p:nvSpPr>
        <p:spPr>
          <a:xfrm>
            <a:off x="6490603" y="3284295"/>
            <a:ext cx="3147693" cy="34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635C5B"/>
                </a:solidFill>
                <a:cs typeface="Arial"/>
              </a:rPr>
              <a:t>Deadlines and penaltie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A5AE676-E541-4222-82F8-072429DBE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417232" y="2971801"/>
            <a:ext cx="3916640" cy="1734672"/>
            <a:chOff x="6417232" y="2971801"/>
            <a:chExt cx="3916640" cy="173467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658AAED-6C4F-4352-A0A4-0080CDF294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417232" y="3192051"/>
              <a:ext cx="3916640" cy="1514422"/>
            </a:xfrm>
            <a:prstGeom prst="rect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A4B6AEA3-038B-4A93-99A6-28827E462C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6620302" y="2971801"/>
              <a:ext cx="3361899" cy="162795"/>
            </a:xfrm>
            <a:prstGeom prst="triangle">
              <a:avLst/>
            </a:prstGeom>
            <a:solidFill>
              <a:srgbClr val="E8E8E8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kern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93319E26-631F-4387-B686-0CA5B67C3667}"/>
              </a:ext>
            </a:extLst>
          </p:cNvPr>
          <p:cNvSpPr txBox="1">
            <a:spLocks/>
          </p:cNvSpPr>
          <p:nvPr/>
        </p:nvSpPr>
        <p:spPr bwMode="auto">
          <a:xfrm>
            <a:off x="1905001" y="3174762"/>
            <a:ext cx="4120243" cy="33461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defRPr/>
            </a:pPr>
            <a:endParaRPr lang="en-US" sz="1600" dirty="0">
              <a:solidFill>
                <a:srgbClr val="000000"/>
              </a:solidFill>
              <a:latin typeface="+mn-lt"/>
              <a:cs typeface="+mn-cs"/>
            </a:endParaRPr>
          </a:p>
          <a:p>
            <a:pPr>
              <a:spcAft>
                <a:spcPts val="0"/>
              </a:spcAft>
              <a:defRPr/>
            </a:pPr>
            <a:r>
              <a:rPr lang="en-US" sz="1800" dirty="0">
                <a:latin typeface="+mn-lt"/>
                <a:cs typeface="+mn-cs"/>
              </a:rPr>
              <a:t>Penalties imposed in case project is delayed or fails to comply with the requirements stated in the PPA contract.</a:t>
            </a:r>
          </a:p>
          <a:p>
            <a:pPr>
              <a:spcAft>
                <a:spcPts val="0"/>
              </a:spcAft>
              <a:defRPr/>
            </a:pPr>
            <a:endParaRPr lang="de-DE" sz="1800" dirty="0">
              <a:latin typeface="+mn-lt"/>
              <a:cs typeface="+mn-cs"/>
            </a:endParaRPr>
          </a:p>
          <a:p>
            <a:pPr>
              <a:spcAft>
                <a:spcPts val="0"/>
              </a:spcAft>
              <a:defRPr/>
            </a:pPr>
            <a:r>
              <a:rPr lang="en-US" sz="1800" dirty="0">
                <a:latin typeface="+mn-lt"/>
                <a:cs typeface="+mn-cs"/>
              </a:rPr>
              <a:t>Examples of penalties:</a:t>
            </a:r>
          </a:p>
          <a:p>
            <a:pPr marL="684213">
              <a:spcAft>
                <a:spcPts val="0"/>
              </a:spcAft>
              <a:buFont typeface="Arial"/>
              <a:buChar char="–"/>
              <a:defRPr/>
            </a:pPr>
            <a:r>
              <a:rPr lang="en-US" sz="1800" dirty="0">
                <a:latin typeface="+mn-lt"/>
                <a:cs typeface="+mn-cs"/>
              </a:rPr>
              <a:t>Execution of financial guarantees if:</a:t>
            </a:r>
          </a:p>
          <a:p>
            <a:pPr marL="914400">
              <a:spcAft>
                <a:spcPts val="0"/>
              </a:spcAft>
              <a:defRPr/>
            </a:pPr>
            <a:r>
              <a:rPr lang="en-US" sz="1800" dirty="0">
                <a:latin typeface="+mn-lt"/>
                <a:cs typeface="+mn-cs"/>
              </a:rPr>
              <a:t>Signing of PPA is delayed</a:t>
            </a:r>
          </a:p>
          <a:p>
            <a:pPr marL="914400">
              <a:spcAft>
                <a:spcPts val="0"/>
              </a:spcAft>
              <a:defRPr/>
            </a:pPr>
            <a:r>
              <a:rPr lang="en-US" sz="1800" dirty="0">
                <a:latin typeface="+mn-lt"/>
                <a:cs typeface="+mn-cs"/>
              </a:rPr>
              <a:t>Project delays or cancellation</a:t>
            </a:r>
          </a:p>
          <a:p>
            <a:pPr marL="684213">
              <a:spcAft>
                <a:spcPts val="0"/>
              </a:spcAft>
              <a:buFont typeface="Arial"/>
              <a:buChar char="–"/>
              <a:defRPr/>
            </a:pPr>
            <a:r>
              <a:rPr lang="en-US" sz="1800" dirty="0">
                <a:latin typeface="+mn-lt"/>
                <a:cs typeface="+mn-cs"/>
              </a:rPr>
              <a:t>Cancellation of the PPA</a:t>
            </a:r>
          </a:p>
          <a:p>
            <a:pPr marL="684213">
              <a:spcAft>
                <a:spcPts val="0"/>
              </a:spcAft>
              <a:buFont typeface="Arial"/>
              <a:buChar char="–"/>
              <a:defRPr/>
            </a:pPr>
            <a:r>
              <a:rPr lang="en-US" sz="1800" dirty="0">
                <a:latin typeface="+mn-lt"/>
                <a:cs typeface="+mn-cs"/>
              </a:rPr>
              <a:t>Exclusion of bidder and/or project from future rounds.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71DD12F-5FDE-4182-BCAB-D18A69E6651F}"/>
              </a:ext>
            </a:extLst>
          </p:cNvPr>
          <p:cNvSpPr txBox="1">
            <a:spLocks/>
          </p:cNvSpPr>
          <p:nvPr/>
        </p:nvSpPr>
        <p:spPr bwMode="auto">
          <a:xfrm>
            <a:off x="1905001" y="2807732"/>
            <a:ext cx="4120243" cy="367031"/>
          </a:xfrm>
          <a:prstGeom prst="rect">
            <a:avLst/>
          </a:prstGeom>
          <a:solidFill>
            <a:srgbClr val="002A6C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de-DE" sz="1800" dirty="0">
                <a:solidFill>
                  <a:srgbClr val="FFFFFF"/>
                </a:solidFill>
                <a:latin typeface="+mn-lt"/>
              </a:rPr>
              <a:t>Considerations</a:t>
            </a:r>
            <a:endParaRPr lang="en-US" sz="18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39" name="Group 38" descr="arrow showing from right to left: planning, to approval process, to construction, to operation, with a large red X over the space between construction and operation ">
            <a:extLst>
              <a:ext uri="{FF2B5EF4-FFF2-40B4-BE49-F238E27FC236}">
                <a16:creationId xmlns:a16="http://schemas.microsoft.com/office/drawing/2014/main" id="{EE68B19F-8B4A-41C0-87A3-0DDCC420932D}"/>
              </a:ext>
            </a:extLst>
          </p:cNvPr>
          <p:cNvGrpSpPr/>
          <p:nvPr/>
        </p:nvGrpSpPr>
        <p:grpSpPr>
          <a:xfrm>
            <a:off x="1697763" y="1639977"/>
            <a:ext cx="8632340" cy="1291815"/>
            <a:chOff x="1697763" y="1639977"/>
            <a:chExt cx="8632340" cy="129181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84F5C07-F86E-45DC-8D86-471373F26368}"/>
                </a:ext>
              </a:extLst>
            </p:cNvPr>
            <p:cNvSpPr txBox="1"/>
            <p:nvPr/>
          </p:nvSpPr>
          <p:spPr>
            <a:xfrm>
              <a:off x="6937151" y="2590801"/>
              <a:ext cx="2719559" cy="340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dirty="0">
                  <a:solidFill>
                    <a:srgbClr val="000000"/>
                  </a:solidFill>
                  <a:cs typeface="Arial"/>
                </a:rPr>
                <a:t>No/delayed realization</a:t>
              </a:r>
            </a:p>
          </p:txBody>
        </p:sp>
        <p:grpSp>
          <p:nvGrpSpPr>
            <p:cNvPr id="38" name="Group 37" descr="arrow showing from right to left: planning, to approval process, to construction, to operation, with a large red X over the space between construction and operation ">
              <a:extLst>
                <a:ext uri="{FF2B5EF4-FFF2-40B4-BE49-F238E27FC236}">
                  <a16:creationId xmlns:a16="http://schemas.microsoft.com/office/drawing/2014/main" id="{65C8909B-64F7-4B64-9F91-BD3F2CB5C27C}"/>
                </a:ext>
              </a:extLst>
            </p:cNvPr>
            <p:cNvGrpSpPr/>
            <p:nvPr/>
          </p:nvGrpSpPr>
          <p:grpSpPr>
            <a:xfrm>
              <a:off x="1697763" y="1639977"/>
              <a:ext cx="8632340" cy="1122449"/>
              <a:chOff x="1697763" y="1639977"/>
              <a:chExt cx="8632340" cy="1122449"/>
            </a:xfrm>
          </p:grpSpPr>
          <p:grpSp>
            <p:nvGrpSpPr>
              <p:cNvPr id="17" name="Group 16" descr="arrow showing from right to left: planning, to approval process, to construction, to operation, with a large red X over the space between construction and operation ">
                <a:extLst>
                  <a:ext uri="{FF2B5EF4-FFF2-40B4-BE49-F238E27FC236}">
                    <a16:creationId xmlns:a16="http://schemas.microsoft.com/office/drawing/2014/main" id="{FC82BC75-F467-406B-827A-BC7F25F4FFF0}"/>
                  </a:ext>
                </a:extLst>
              </p:cNvPr>
              <p:cNvGrpSpPr/>
              <p:nvPr/>
            </p:nvGrpSpPr>
            <p:grpSpPr>
              <a:xfrm>
                <a:off x="1697763" y="1902653"/>
                <a:ext cx="8632340" cy="582652"/>
                <a:chOff x="2726351" y="3229470"/>
                <a:chExt cx="3691298" cy="399059"/>
              </a:xfrm>
              <a:solidFill>
                <a:srgbClr val="002F6C"/>
              </a:solidFill>
            </p:grpSpPr>
            <p:grpSp>
              <p:nvGrpSpPr>
                <p:cNvPr id="18" name="Group 17">
                  <a:extLst>
                    <a:ext uri="{FF2B5EF4-FFF2-40B4-BE49-F238E27FC236}">
                      <a16:creationId xmlns:a16="http://schemas.microsoft.com/office/drawing/2014/main" id="{4D448F6C-4EA4-415A-89AD-E10732E407E9}"/>
                    </a:ext>
                  </a:extLst>
                </p:cNvPr>
                <p:cNvGrpSpPr/>
                <p:nvPr/>
              </p:nvGrpSpPr>
              <p:grpSpPr>
                <a:xfrm>
                  <a:off x="2726351" y="3229470"/>
                  <a:ext cx="997648" cy="399059"/>
                  <a:chOff x="1713" y="220150"/>
                  <a:chExt cx="997648" cy="399059"/>
                </a:xfrm>
                <a:grpFill/>
              </p:grpSpPr>
              <p:sp>
                <p:nvSpPr>
                  <p:cNvPr id="28" name="Arrow: Chevron 27">
                    <a:extLst>
                      <a:ext uri="{FF2B5EF4-FFF2-40B4-BE49-F238E27FC236}">
                        <a16:creationId xmlns:a16="http://schemas.microsoft.com/office/drawing/2014/main" id="{498B33EF-435F-4D64-AF95-6BF6A66A283E}"/>
                      </a:ext>
                    </a:extLst>
                  </p:cNvPr>
                  <p:cNvSpPr/>
                  <p:nvPr/>
                </p:nvSpPr>
                <p:spPr>
                  <a:xfrm>
                    <a:off x="1713" y="220150"/>
                    <a:ext cx="997648" cy="399059"/>
                  </a:xfrm>
                  <a:prstGeom prst="chevron">
                    <a:avLst/>
                  </a:prstGeom>
                  <a:grpFill/>
                  <a:ln w="25400" cap="flat" cmpd="sng" algn="ctr">
                    <a:solidFill>
                      <a:schemeClr val="accent1"/>
                    </a:solidFill>
                    <a:prstDash val="solid"/>
                  </a:ln>
                  <a:effectLst/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>
                      <a:defRPr/>
                    </a:pPr>
                    <a:endParaRPr lang="de-DE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9" name="Arrow: Chevron 4">
                    <a:extLst>
                      <a:ext uri="{FF2B5EF4-FFF2-40B4-BE49-F238E27FC236}">
                        <a16:creationId xmlns:a16="http://schemas.microsoft.com/office/drawing/2014/main" id="{4EC5F41E-080E-429A-852E-DF1C65D14BBF}"/>
                      </a:ext>
                    </a:extLst>
                  </p:cNvPr>
                  <p:cNvSpPr txBox="1"/>
                  <p:nvPr/>
                </p:nvSpPr>
                <p:spPr>
                  <a:xfrm>
                    <a:off x="201243" y="220150"/>
                    <a:ext cx="598589" cy="399059"/>
                  </a:xfrm>
                  <a:prstGeom prst="rect">
                    <a:avLst/>
                  </a:prstGeom>
                  <a:grpFill/>
                  <a:ln>
                    <a:solidFill>
                      <a:schemeClr val="accent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2004" tIns="10668" rIns="10668" bIns="10668" numCol="1" spcCol="1270" anchor="ctr" anchorCtr="0">
                    <a:noAutofit/>
                  </a:bodyPr>
                  <a:lstStyle/>
                  <a:p>
                    <a:pPr algn="ctr" defTabSz="3556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defRPr/>
                    </a:pPr>
                    <a:r>
                      <a:rPr lang="en-US" dirty="0">
                        <a:solidFill>
                          <a:srgbClr val="FFFFFF"/>
                        </a:solidFill>
                        <a:cs typeface="Arial"/>
                      </a:rPr>
                      <a:t>Planning</a:t>
                    </a:r>
                  </a:p>
                </p:txBody>
              </p:sp>
            </p:grpSp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3C7CE6BA-A9AC-4730-86A9-A00F0F8D8CD5}"/>
                    </a:ext>
                  </a:extLst>
                </p:cNvPr>
                <p:cNvGrpSpPr/>
                <p:nvPr/>
              </p:nvGrpSpPr>
              <p:grpSpPr>
                <a:xfrm>
                  <a:off x="3624235" y="3229470"/>
                  <a:ext cx="997648" cy="399059"/>
                  <a:chOff x="899597" y="220150"/>
                  <a:chExt cx="997648" cy="399059"/>
                </a:xfrm>
                <a:grpFill/>
              </p:grpSpPr>
              <p:sp>
                <p:nvSpPr>
                  <p:cNvPr id="26" name="Arrow: Chevron 25">
                    <a:extLst>
                      <a:ext uri="{FF2B5EF4-FFF2-40B4-BE49-F238E27FC236}">
                        <a16:creationId xmlns:a16="http://schemas.microsoft.com/office/drawing/2014/main" id="{93D79595-B892-4263-B130-180CC9B821A5}"/>
                      </a:ext>
                    </a:extLst>
                  </p:cNvPr>
                  <p:cNvSpPr/>
                  <p:nvPr/>
                </p:nvSpPr>
                <p:spPr>
                  <a:xfrm>
                    <a:off x="899597" y="220150"/>
                    <a:ext cx="997648" cy="399059"/>
                  </a:xfrm>
                  <a:prstGeom prst="chevron">
                    <a:avLst/>
                  </a:prstGeom>
                  <a:grpFill/>
                  <a:ln w="25400" cap="flat" cmpd="sng" algn="ctr">
                    <a:solidFill>
                      <a:schemeClr val="accent1"/>
                    </a:solidFill>
                    <a:prstDash val="solid"/>
                  </a:ln>
                  <a:effectLst/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>
                      <a:defRPr/>
                    </a:pPr>
                    <a:endParaRPr lang="de-DE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7" name="Arrow: Chevron 6">
                    <a:extLst>
                      <a:ext uri="{FF2B5EF4-FFF2-40B4-BE49-F238E27FC236}">
                        <a16:creationId xmlns:a16="http://schemas.microsoft.com/office/drawing/2014/main" id="{3CE6CEC0-8788-403C-87BB-737D6FE0EC46}"/>
                      </a:ext>
                    </a:extLst>
                  </p:cNvPr>
                  <p:cNvSpPr txBox="1"/>
                  <p:nvPr/>
                </p:nvSpPr>
                <p:spPr>
                  <a:xfrm>
                    <a:off x="1099127" y="220150"/>
                    <a:ext cx="598589" cy="399059"/>
                  </a:xfrm>
                  <a:prstGeom prst="rect">
                    <a:avLst/>
                  </a:prstGeom>
                  <a:grpFill/>
                  <a:ln>
                    <a:solidFill>
                      <a:schemeClr val="accent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2004" tIns="10668" rIns="10668" bIns="10668" numCol="1" spcCol="1270" anchor="ctr" anchorCtr="0">
                    <a:noAutofit/>
                  </a:bodyPr>
                  <a:lstStyle/>
                  <a:p>
                    <a:pPr algn="ctr" defTabSz="3556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defRPr/>
                    </a:pPr>
                    <a:r>
                      <a:rPr lang="en-US" dirty="0">
                        <a:solidFill>
                          <a:srgbClr val="FFFFFF"/>
                        </a:solidFill>
                        <a:cs typeface="Arial"/>
                      </a:rPr>
                      <a:t>Approval process</a:t>
                    </a:r>
                  </a:p>
                </p:txBody>
              </p:sp>
            </p:grp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3C0B70F5-8F58-4FDA-B790-CE4FAB915913}"/>
                    </a:ext>
                  </a:extLst>
                </p:cNvPr>
                <p:cNvGrpSpPr/>
                <p:nvPr/>
              </p:nvGrpSpPr>
              <p:grpSpPr>
                <a:xfrm>
                  <a:off x="4522118" y="3229470"/>
                  <a:ext cx="997648" cy="399059"/>
                  <a:chOff x="1797480" y="220150"/>
                  <a:chExt cx="997648" cy="399059"/>
                </a:xfrm>
                <a:grpFill/>
              </p:grpSpPr>
              <p:sp>
                <p:nvSpPr>
                  <p:cNvPr id="24" name="Arrow: Chevron 23">
                    <a:extLst>
                      <a:ext uri="{FF2B5EF4-FFF2-40B4-BE49-F238E27FC236}">
                        <a16:creationId xmlns:a16="http://schemas.microsoft.com/office/drawing/2014/main" id="{941C1557-EFD3-4F7A-82E7-7893C331992C}"/>
                      </a:ext>
                    </a:extLst>
                  </p:cNvPr>
                  <p:cNvSpPr/>
                  <p:nvPr/>
                </p:nvSpPr>
                <p:spPr>
                  <a:xfrm>
                    <a:off x="1797480" y="220150"/>
                    <a:ext cx="997648" cy="399059"/>
                  </a:xfrm>
                  <a:prstGeom prst="chevron">
                    <a:avLst/>
                  </a:prstGeom>
                  <a:grpFill/>
                  <a:ln w="25400" cap="flat" cmpd="sng" algn="ctr">
                    <a:solidFill>
                      <a:schemeClr val="accent1"/>
                    </a:solidFill>
                    <a:prstDash val="solid"/>
                  </a:ln>
                  <a:effectLst/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>
                      <a:defRPr/>
                    </a:pPr>
                    <a:endParaRPr lang="de-DE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5" name="Arrow: Chevron 8">
                    <a:extLst>
                      <a:ext uri="{FF2B5EF4-FFF2-40B4-BE49-F238E27FC236}">
                        <a16:creationId xmlns:a16="http://schemas.microsoft.com/office/drawing/2014/main" id="{ED40245D-EE5E-4AC5-9C3D-744AD0B223A2}"/>
                      </a:ext>
                    </a:extLst>
                  </p:cNvPr>
                  <p:cNvSpPr txBox="1"/>
                  <p:nvPr/>
                </p:nvSpPr>
                <p:spPr>
                  <a:xfrm>
                    <a:off x="1997010" y="220150"/>
                    <a:ext cx="598589" cy="399059"/>
                  </a:xfrm>
                  <a:prstGeom prst="rect">
                    <a:avLst/>
                  </a:prstGeom>
                  <a:grpFill/>
                  <a:ln>
                    <a:solidFill>
                      <a:schemeClr val="accent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2004" tIns="10668" rIns="10668" bIns="10668" numCol="1" spcCol="1270" anchor="ctr" anchorCtr="0">
                    <a:noAutofit/>
                  </a:bodyPr>
                  <a:lstStyle/>
                  <a:p>
                    <a:pPr algn="ctr" defTabSz="3556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defRPr/>
                    </a:pPr>
                    <a:r>
                      <a:rPr lang="en-US" dirty="0">
                        <a:solidFill>
                          <a:srgbClr val="FFFFFF"/>
                        </a:solidFill>
                        <a:cs typeface="Arial"/>
                      </a:rPr>
                      <a:t>Construction </a:t>
                    </a:r>
                  </a:p>
                </p:txBody>
              </p:sp>
            </p:grpSp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BB86A598-10EB-457C-9833-0F562D71416B}"/>
                    </a:ext>
                  </a:extLst>
                </p:cNvPr>
                <p:cNvGrpSpPr/>
                <p:nvPr/>
              </p:nvGrpSpPr>
              <p:grpSpPr>
                <a:xfrm>
                  <a:off x="5420001" y="3229470"/>
                  <a:ext cx="997648" cy="399059"/>
                  <a:chOff x="2695363" y="220150"/>
                  <a:chExt cx="997648" cy="399059"/>
                </a:xfrm>
                <a:grpFill/>
              </p:grpSpPr>
              <p:sp>
                <p:nvSpPr>
                  <p:cNvPr id="22" name="Arrow: Chevron 21">
                    <a:extLst>
                      <a:ext uri="{FF2B5EF4-FFF2-40B4-BE49-F238E27FC236}">
                        <a16:creationId xmlns:a16="http://schemas.microsoft.com/office/drawing/2014/main" id="{37E21A35-32F0-49AC-8C6B-CEF8CE69AA48}"/>
                      </a:ext>
                    </a:extLst>
                  </p:cNvPr>
                  <p:cNvSpPr/>
                  <p:nvPr/>
                </p:nvSpPr>
                <p:spPr>
                  <a:xfrm>
                    <a:off x="2695363" y="220150"/>
                    <a:ext cx="997648" cy="399059"/>
                  </a:xfrm>
                  <a:prstGeom prst="chevron">
                    <a:avLst/>
                  </a:prstGeom>
                  <a:grpFill/>
                  <a:ln w="25400" cap="flat" cmpd="sng" algn="ctr">
                    <a:solidFill>
                      <a:schemeClr val="accent1"/>
                    </a:solidFill>
                    <a:prstDash val="solid"/>
                  </a:ln>
                  <a:effectLst/>
                </p:spPr>
                <p:style>
                  <a:lnRef idx="2">
                    <a:scrgbClr r="0" g="0" b="0"/>
                  </a:lnRef>
                  <a:fillRef idx="1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>
                      <a:defRPr/>
                    </a:pPr>
                    <a:endParaRPr lang="de-DE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23" name="Arrow: Chevron 10">
                    <a:extLst>
                      <a:ext uri="{FF2B5EF4-FFF2-40B4-BE49-F238E27FC236}">
                        <a16:creationId xmlns:a16="http://schemas.microsoft.com/office/drawing/2014/main" id="{8017F2C6-7BA1-4B5B-BA9F-C77B0FB937E3}"/>
                      </a:ext>
                    </a:extLst>
                  </p:cNvPr>
                  <p:cNvSpPr txBox="1"/>
                  <p:nvPr/>
                </p:nvSpPr>
                <p:spPr>
                  <a:xfrm>
                    <a:off x="2894893" y="220150"/>
                    <a:ext cx="598589" cy="399059"/>
                  </a:xfrm>
                  <a:prstGeom prst="rect">
                    <a:avLst/>
                  </a:prstGeom>
                  <a:grpFill/>
                  <a:ln>
                    <a:solidFill>
                      <a:schemeClr val="accent1"/>
                    </a:solidFill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spcFirstLastPara="0" vert="horz" wrap="square" lIns="32004" tIns="10668" rIns="10668" bIns="10668" numCol="1" spcCol="1270" anchor="ctr" anchorCtr="0">
                    <a:noAutofit/>
                  </a:bodyPr>
                  <a:lstStyle/>
                  <a:p>
                    <a:pPr algn="ctr" defTabSz="35560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35000"/>
                      </a:spcAft>
                      <a:defRPr/>
                    </a:pPr>
                    <a:r>
                      <a:rPr lang="en-US" dirty="0">
                        <a:solidFill>
                          <a:srgbClr val="FFFFFF"/>
                        </a:solidFill>
                        <a:cs typeface="Arial"/>
                      </a:rPr>
                      <a:t>Operation</a:t>
                    </a:r>
                  </a:p>
                </p:txBody>
              </p:sp>
            </p:grp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92B4A5FF-812D-486A-A579-5C2BE6172BD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GrpSpPr/>
              <p:nvPr/>
            </p:nvGrpSpPr>
            <p:grpSpPr>
              <a:xfrm>
                <a:off x="8115714" y="1639977"/>
                <a:ext cx="229265" cy="1122449"/>
                <a:chOff x="6520950" y="1703943"/>
                <a:chExt cx="229265" cy="1122449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EC61C299-C565-4285-8700-BD6D2EA98004}"/>
                    </a:ext>
                  </a:extLst>
                </p:cNvPr>
                <p:cNvSpPr/>
                <p:nvPr/>
              </p:nvSpPr>
              <p:spPr bwMode="auto">
                <a:xfrm rot="2497907">
                  <a:off x="6520950" y="1710392"/>
                  <a:ext cx="173833" cy="1116000"/>
                </a:xfrm>
                <a:prstGeom prst="rect">
                  <a:avLst/>
                </a:prstGeom>
                <a:solidFill>
                  <a:srgbClr val="BA0C2F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b="1" kern="0" dirty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38E82CBA-F36B-4C3F-8449-71823DCC7C47}"/>
                    </a:ext>
                  </a:extLst>
                </p:cNvPr>
                <p:cNvSpPr/>
                <p:nvPr/>
              </p:nvSpPr>
              <p:spPr bwMode="auto">
                <a:xfrm rot="18909922">
                  <a:off x="6576382" y="1703943"/>
                  <a:ext cx="173833" cy="1116000"/>
                </a:xfrm>
                <a:prstGeom prst="rect">
                  <a:avLst/>
                </a:prstGeom>
                <a:solidFill>
                  <a:srgbClr val="BA0C2F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GB" b="1" kern="0" dirty="0">
                    <a:solidFill>
                      <a:srgbClr val="000000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C96F1665-41CA-4DD2-8FBF-E5445958F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</p:spPr>
        <p:txBody>
          <a:bodyPr/>
          <a:lstStyle/>
          <a:p>
            <a:r>
              <a:rPr lang="en-US" dirty="0"/>
              <a:t>Penalties enforce project realization </a:t>
            </a:r>
          </a:p>
        </p:txBody>
      </p:sp>
    </p:spTree>
    <p:extLst>
      <p:ext uri="{BB962C8B-B14F-4D97-AF65-F5344CB8AC3E}">
        <p14:creationId xmlns:p14="http://schemas.microsoft.com/office/powerpoint/2010/main" val="11986738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2B3CE3D-B967-4D3B-850A-CFECC067B4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288534"/>
              </p:ext>
            </p:extLst>
          </p:nvPr>
        </p:nvGraphicFramePr>
        <p:xfrm>
          <a:off x="1871933" y="1524000"/>
          <a:ext cx="8381999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5047">
                  <a:extLst>
                    <a:ext uri="{9D8B030D-6E8A-4147-A177-3AD203B41FA5}">
                      <a16:colId xmlns:a16="http://schemas.microsoft.com/office/drawing/2014/main" val="918217510"/>
                    </a:ext>
                  </a:extLst>
                </a:gridCol>
                <a:gridCol w="7206952">
                  <a:extLst>
                    <a:ext uri="{9D8B030D-6E8A-4147-A177-3AD203B41FA5}">
                      <a16:colId xmlns:a16="http://schemas.microsoft.com/office/drawing/2014/main" val="381678097"/>
                    </a:ext>
                  </a:extLst>
                </a:gridCol>
              </a:tblGrid>
              <a:tr h="345572">
                <a:tc>
                  <a:txBody>
                    <a:bodyPr/>
                    <a:lstStyle/>
                    <a:p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6586881"/>
                  </a:ext>
                </a:extLst>
              </a:tr>
              <a:tr h="2937365"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How to calculate them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Define level as a percentage of total investment costs</a:t>
                      </a:r>
                    </a:p>
                    <a:p>
                      <a:pPr marL="800100" lvl="1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International examples show: 1-2% for the bid bond, 5-7% for the completion bond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Assume installation costs of $1671/kW for utility scale solar PV</a:t>
                      </a:r>
                    </a:p>
                    <a:p>
                      <a:pPr marL="342900" indent="-342900">
                        <a:buFont typeface="+mj-lt"/>
                        <a:buAutoNum type="arabicPeriod" startAt="2"/>
                      </a:pPr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342900" indent="-342900">
                        <a:buFont typeface="+mj-lt"/>
                        <a:buAutoNum type="arabicPeriod" startAt="2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What is the value range for the </a:t>
                      </a:r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bid bond</a:t>
                      </a: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? $16.71 - $33.42/kW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342900" indent="-342900">
                        <a:buFont typeface="+mj-lt"/>
                        <a:buAutoNum type="arabicPeriod" startAt="3"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What is the value range for the </a:t>
                      </a:r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completion bond</a:t>
                      </a: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? $83.55 - $116.97/kW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US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4.    Calibrate your ranges:</a:t>
                      </a:r>
                    </a:p>
                    <a:p>
                      <a:pPr marL="800100" lvl="1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Bid bond</a:t>
                      </a: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: consider the permits and approvals to balance burden on bidders (remember: avoid too high sunk cost!)</a:t>
                      </a:r>
                    </a:p>
                    <a:p>
                      <a:pPr marL="800100" lvl="1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b="1" noProof="0" dirty="0">
                          <a:solidFill>
                            <a:srgbClr val="635C5B"/>
                          </a:solidFill>
                        </a:rPr>
                        <a:t>Completion bond</a:t>
                      </a:r>
                      <a:r>
                        <a:rPr lang="en-US" noProof="0" dirty="0">
                          <a:solidFill>
                            <a:srgbClr val="635C5B"/>
                          </a:solidFill>
                        </a:rPr>
                        <a:t>: consider the savings potential in e.g. module price reductions delaying project construction enabl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59898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4A2DD83-422F-4E10-8AE1-3A143E0942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76600" y="4182612"/>
            <a:ext cx="1981200" cy="236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80B0251-F0B3-44F9-BFD5-C6B394A7B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54108" y="3907744"/>
            <a:ext cx="1780492" cy="236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A08CE6-E26E-41A1-B14C-DB6FA2D73B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67600" y="3351265"/>
            <a:ext cx="1981200" cy="2369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Example: setting financial guarantees (1/II)</a:t>
            </a:r>
          </a:p>
        </p:txBody>
      </p:sp>
    </p:spTree>
    <p:extLst>
      <p:ext uri="{BB962C8B-B14F-4D97-AF65-F5344CB8AC3E}">
        <p14:creationId xmlns:p14="http://schemas.microsoft.com/office/powerpoint/2010/main" val="1118674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P7Tf_eGq0.ZxyMswzw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9DgewHN0nlV9_SDeCu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Qzk1yNYRGIqLhZoHi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xdWDlN1fq6ucgkMp7j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EHv1LWJCwd.ZM5_gm.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6BUS0jnlokveo4kG6hUw"/>
</p:tagLst>
</file>

<file path=ppt/theme/theme1.xml><?xml version="1.0" encoding="utf-8"?>
<a:theme xmlns:a="http://schemas.openxmlformats.org/drawingml/2006/main" name="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EE83EC7-0760-42FD-9151-72E39E1269C6}" vid="{D74689B0-0388-473D-A06D-3EB489E9CE60}"/>
    </a:ext>
  </a:extLst>
</a:theme>
</file>

<file path=ppt/theme/theme3.xml><?xml version="1.0" encoding="utf-8"?>
<a:theme xmlns:a="http://schemas.openxmlformats.org/drawingml/2006/main" name="2_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5.xml><?xml version="1.0" encoding="utf-8"?>
<a:theme xmlns:a="http://schemas.openxmlformats.org/drawingml/2006/main" name="1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Strommarkttreffen - Standortsteuerung" id="{F88D08B6-4347-42E3-BAFC-3660FBA6D522}" vid="{C305799B-7933-4F83-972F-FDDB2275C43F}"/>
    </a:ext>
  </a:extLst>
</a:theme>
</file>

<file path=ppt/theme/theme6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7.xml><?xml version="1.0" encoding="utf-8"?>
<a:theme xmlns:a="http://schemas.openxmlformats.org/drawingml/2006/main" name="2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8.xml><?xml version="1.0" encoding="utf-8"?>
<a:theme xmlns:a="http://schemas.openxmlformats.org/drawingml/2006/main" name="7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9.xml><?xml version="1.0" encoding="utf-8"?>
<a:theme xmlns:a="http://schemas.openxmlformats.org/drawingml/2006/main" name="8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BC181712BA935642AACDCDFA754D68E5" ma:contentTypeVersion="15" ma:contentTypeDescription="Create a new document." ma:contentTypeScope="" ma:versionID="f948ac67e752e5b7ce6f9e443303a785">
  <xsd:schema xmlns:xsd="http://www.w3.org/2001/XMLSchema" xmlns:xs="http://www.w3.org/2001/XMLSchema" xmlns:p="http://schemas.microsoft.com/office/2006/metadata/properties" xmlns:ns2="8d9b4ab4-65b9-4a08-baeb-312269dd31de" xmlns:ns3="d1a9d701-4f4a-43a3-88a5-5d202ecff1c2" targetNamespace="http://schemas.microsoft.com/office/2006/metadata/properties" ma:root="true" ma:fieldsID="125bad52f1e60193bb16a6356399dc79" ns2:_="" ns3:_="">
    <xsd:import namespace="8d9b4ab4-65b9-4a08-baeb-312269dd31de"/>
    <xsd:import namespace="d1a9d701-4f4a-43a3-88a5-5d202ecff1c2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a9d701-4f4a-43a3-88a5-5d202ecff1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ED42BD-B63E-4F15-BBA7-3AD6658DE7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0424B8-95E8-4022-AA4A-1C0399C8CF87}">
  <ds:schemaRefs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d1a9d701-4f4a-43a3-88a5-5d202ecff1c2"/>
    <ds:schemaRef ds:uri="http://purl.org/dc/elements/1.1/"/>
    <ds:schemaRef ds:uri="8d9b4ab4-65b9-4a08-baeb-312269dd31d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E8D808E-E886-445B-A47D-ECED68E4B3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d1a9d701-4f4a-43a3-88a5-5d202ecff1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.3-Template_4.29.2016</Template>
  <TotalTime>17704</TotalTime>
  <Words>1324</Words>
  <Application>Microsoft Office PowerPoint</Application>
  <PresentationFormat>Widescreen</PresentationFormat>
  <Paragraphs>196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1" baseType="lpstr">
      <vt:lpstr>Arial</vt:lpstr>
      <vt:lpstr>Arial Narrow</vt:lpstr>
      <vt:lpstr>Calibri</vt:lpstr>
      <vt:lpstr>Gill Sans MT</vt:lpstr>
      <vt:lpstr>Palatino Linotype</vt:lpstr>
      <vt:lpstr>Verdana</vt:lpstr>
      <vt:lpstr>Wingdings</vt:lpstr>
      <vt:lpstr>4.3-Template_4.29.2016</vt:lpstr>
      <vt:lpstr>1_Presentation_Refresh 4:3</vt:lpstr>
      <vt:lpstr>2_4.3-Template_4.29.2016</vt:lpstr>
      <vt:lpstr>Navigant_Gray</vt:lpstr>
      <vt:lpstr>1_Navigant_Gray</vt:lpstr>
      <vt:lpstr>Presentation_Refresh 4:3</vt:lpstr>
      <vt:lpstr>2_Presentation_Refresh 4:3</vt:lpstr>
      <vt:lpstr>7_Navigant_Gray</vt:lpstr>
      <vt:lpstr>8_Navigant_Gray</vt:lpstr>
      <vt:lpstr>think-cell Slide</vt:lpstr>
      <vt:lpstr>Design elements and country experiences II: ceiling prices, financial guarantees, and penalties</vt:lpstr>
      <vt:lpstr>Ceiling prices control costs and generate market signals, but setting is a challenge</vt:lpstr>
      <vt:lpstr>How to calculate the levelized cost of electricity (LCOE)?</vt:lpstr>
      <vt:lpstr>Levelized cost of energy (LCOE)</vt:lpstr>
      <vt:lpstr>Most countries disclose ceiling prices</vt:lpstr>
      <vt:lpstr>Auction procedure: ceiling prices</vt:lpstr>
      <vt:lpstr>Financial guarantees:  considerations and country examples</vt:lpstr>
      <vt:lpstr>Penalties enforce project realization </vt:lpstr>
      <vt:lpstr>Example: setting financial guarantees (1/II)</vt:lpstr>
      <vt:lpstr>Example: setting financial guarantees (1I/II)</vt:lpstr>
      <vt:lpstr>Conditions for participation: financial guarantees</vt:lpstr>
      <vt:lpstr>Example: setting penalties (1/III)</vt:lpstr>
      <vt:lpstr>Example: setting penalties (1I/III)</vt:lpstr>
      <vt:lpstr>Example: setting penalties (1II/III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ction Design Elements and Country Experiences Part Two</dc:title>
  <dc:subject>This presentation discusses ceiling price methodologies and calculating bid bonds and guarantees</dc:subject>
  <dc:creator>Navigant--A Guidehouse Company</dc:creator>
  <cp:keywords>Renewable energy auctions, competitive procurement, tariffs, price, markets, electricity, bid bond, guarantee</cp:keywords>
  <cp:lastModifiedBy>Bradley, Bridget</cp:lastModifiedBy>
  <cp:revision>334</cp:revision>
  <dcterms:created xsi:type="dcterms:W3CDTF">2016-05-03T20:02:08Z</dcterms:created>
  <dcterms:modified xsi:type="dcterms:W3CDTF">2020-07-03T17:0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BC181712BA935642AACDCDFA754D68E5</vt:lpwstr>
  </property>
</Properties>
</file>